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92" r:id="rId2"/>
    <p:sldId id="353" r:id="rId3"/>
    <p:sldId id="357" r:id="rId4"/>
    <p:sldId id="354" r:id="rId5"/>
    <p:sldId id="358" r:id="rId6"/>
    <p:sldId id="355" r:id="rId7"/>
    <p:sldId id="359" r:id="rId8"/>
    <p:sldId id="356" r:id="rId9"/>
    <p:sldId id="360" r:id="rId10"/>
    <p:sldId id="361" r:id="rId11"/>
    <p:sldId id="362" r:id="rId12"/>
    <p:sldId id="347" r:id="rId13"/>
    <p:sldId id="348" r:id="rId14"/>
    <p:sldId id="363" r:id="rId15"/>
    <p:sldId id="364" r:id="rId16"/>
    <p:sldId id="350" r:id="rId17"/>
    <p:sldId id="351" r:id="rId18"/>
    <p:sldId id="365" r:id="rId19"/>
    <p:sldId id="352" r:id="rId20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ACC48A-C74B-4F90-AA8F-935C78D65EA4}" v="228" dt="2022-04-28T00:57:34.9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75" d="100"/>
          <a:sy n="75" d="100"/>
        </p:scale>
        <p:origin x="327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Paula Neira Ahumada" userId="1be4c510-a3c3-4c36-a173-8667e5d06593" providerId="ADAL" clId="{A0ACC48A-C74B-4F90-AA8F-935C78D65EA4}"/>
    <pc:docChg chg="undo custSel addSld delSld modSld sldOrd">
      <pc:chgData name="Maria Paula Neira Ahumada" userId="1be4c510-a3c3-4c36-a173-8667e5d06593" providerId="ADAL" clId="{A0ACC48A-C74B-4F90-AA8F-935C78D65EA4}" dt="2022-04-28T00:58:40.218" v="2254" actId="20577"/>
      <pc:docMkLst>
        <pc:docMk/>
      </pc:docMkLst>
      <pc:sldChg chg="modSp add mod">
        <pc:chgData name="Maria Paula Neira Ahumada" userId="1be4c510-a3c3-4c36-a173-8667e5d06593" providerId="ADAL" clId="{A0ACC48A-C74B-4F90-AA8F-935C78D65EA4}" dt="2022-04-27T17:22:26.077" v="450" actId="20577"/>
        <pc:sldMkLst>
          <pc:docMk/>
          <pc:sldMk cId="2245966724" sldId="292"/>
        </pc:sldMkLst>
        <pc:spChg chg="mod">
          <ac:chgData name="Maria Paula Neira Ahumada" userId="1be4c510-a3c3-4c36-a173-8667e5d06593" providerId="ADAL" clId="{A0ACC48A-C74B-4F90-AA8F-935C78D65EA4}" dt="2022-04-27T17:22:26.077" v="450" actId="20577"/>
          <ac:spMkLst>
            <pc:docMk/>
            <pc:sldMk cId="2245966724" sldId="292"/>
            <ac:spMk id="5" creationId="{FF1DFF23-50C4-E44F-A6E9-A3A77A6CBEB1}"/>
          </ac:spMkLst>
        </pc:spChg>
      </pc:sldChg>
      <pc:sldChg chg="del">
        <pc:chgData name="Maria Paula Neira Ahumada" userId="1be4c510-a3c3-4c36-a173-8667e5d06593" providerId="ADAL" clId="{A0ACC48A-C74B-4F90-AA8F-935C78D65EA4}" dt="2022-04-27T17:22:48.495" v="451" actId="47"/>
        <pc:sldMkLst>
          <pc:docMk/>
          <pc:sldMk cId="3669508214" sldId="346"/>
        </pc:sldMkLst>
      </pc:sldChg>
      <pc:sldChg chg="addSp delSp modSp mod">
        <pc:chgData name="Maria Paula Neira Ahumada" userId="1be4c510-a3c3-4c36-a173-8667e5d06593" providerId="ADAL" clId="{A0ACC48A-C74B-4F90-AA8F-935C78D65EA4}" dt="2022-04-28T00:57:05.374" v="2235" actId="1076"/>
        <pc:sldMkLst>
          <pc:docMk/>
          <pc:sldMk cId="2424870969" sldId="347"/>
        </pc:sldMkLst>
        <pc:spChg chg="mod">
          <ac:chgData name="Maria Paula Neira Ahumada" userId="1be4c510-a3c3-4c36-a173-8667e5d06593" providerId="ADAL" clId="{A0ACC48A-C74B-4F90-AA8F-935C78D65EA4}" dt="2022-04-27T17:28:00.568" v="912" actId="113"/>
          <ac:spMkLst>
            <pc:docMk/>
            <pc:sldMk cId="2424870969" sldId="347"/>
            <ac:spMk id="3" creationId="{D4EA90F8-4C04-4353-8E55-6EC0799D3741}"/>
          </ac:spMkLst>
        </pc:spChg>
        <pc:spChg chg="add mod">
          <ac:chgData name="Maria Paula Neira Ahumada" userId="1be4c510-a3c3-4c36-a173-8667e5d06593" providerId="ADAL" clId="{A0ACC48A-C74B-4F90-AA8F-935C78D65EA4}" dt="2022-04-28T00:57:05.374" v="2235" actId="1076"/>
          <ac:spMkLst>
            <pc:docMk/>
            <pc:sldMk cId="2424870969" sldId="347"/>
            <ac:spMk id="5" creationId="{E2727AA3-58D0-4089-B497-0F4E2555B0CB}"/>
          </ac:spMkLst>
        </pc:spChg>
        <pc:spChg chg="add mod">
          <ac:chgData name="Maria Paula Neira Ahumada" userId="1be4c510-a3c3-4c36-a173-8667e5d06593" providerId="ADAL" clId="{A0ACC48A-C74B-4F90-AA8F-935C78D65EA4}" dt="2022-04-27T17:27:42.123" v="905" actId="20577"/>
          <ac:spMkLst>
            <pc:docMk/>
            <pc:sldMk cId="2424870969" sldId="347"/>
            <ac:spMk id="6" creationId="{52AD57E6-D9E9-4462-A950-4D98DEE6E215}"/>
          </ac:spMkLst>
        </pc:spChg>
        <pc:graphicFrameChg chg="add mod">
          <ac:chgData name="Maria Paula Neira Ahumada" userId="1be4c510-a3c3-4c36-a173-8667e5d06593" providerId="ADAL" clId="{A0ACC48A-C74B-4F90-AA8F-935C78D65EA4}" dt="2022-04-27T17:22:54.273" v="453" actId="1076"/>
          <ac:graphicFrameMkLst>
            <pc:docMk/>
            <pc:sldMk cId="2424870969" sldId="347"/>
            <ac:graphicFrameMk id="2" creationId="{9B29003D-E751-4805-955B-3DCF13E20F27}"/>
          </ac:graphicFrameMkLst>
        </pc:graphicFrameChg>
        <pc:graphicFrameChg chg="del">
          <ac:chgData name="Maria Paula Neira Ahumada" userId="1be4c510-a3c3-4c36-a173-8667e5d06593" providerId="ADAL" clId="{A0ACC48A-C74B-4F90-AA8F-935C78D65EA4}" dt="2022-04-27T15:20:46.820" v="2" actId="478"/>
          <ac:graphicFrameMkLst>
            <pc:docMk/>
            <pc:sldMk cId="2424870969" sldId="347"/>
            <ac:graphicFrameMk id="5" creationId="{C8B9F880-FE69-40A9-B970-C62A634DC9C2}"/>
          </ac:graphicFrameMkLst>
        </pc:graphicFrameChg>
      </pc:sldChg>
      <pc:sldChg chg="addSp delSp modSp mod">
        <pc:chgData name="Maria Paula Neira Ahumada" userId="1be4c510-a3c3-4c36-a173-8667e5d06593" providerId="ADAL" clId="{A0ACC48A-C74B-4F90-AA8F-935C78D65EA4}" dt="2022-04-28T00:58:19.757" v="2250" actId="20577"/>
        <pc:sldMkLst>
          <pc:docMk/>
          <pc:sldMk cId="3220395948" sldId="348"/>
        </pc:sldMkLst>
        <pc:spChg chg="mod">
          <ac:chgData name="Maria Paula Neira Ahumada" userId="1be4c510-a3c3-4c36-a173-8667e5d06593" providerId="ADAL" clId="{A0ACC48A-C74B-4F90-AA8F-935C78D65EA4}" dt="2022-04-28T00:58:19.757" v="2250" actId="20577"/>
          <ac:spMkLst>
            <pc:docMk/>
            <pc:sldMk cId="3220395948" sldId="348"/>
            <ac:spMk id="3" creationId="{7490AD88-122E-4EF4-BDFC-B85455E08C97}"/>
          </ac:spMkLst>
        </pc:spChg>
        <pc:spChg chg="add mod">
          <ac:chgData name="Maria Paula Neira Ahumada" userId="1be4c510-a3c3-4c36-a173-8667e5d06593" providerId="ADAL" clId="{A0ACC48A-C74B-4F90-AA8F-935C78D65EA4}" dt="2022-04-28T00:57:11.229" v="2237" actId="1076"/>
          <ac:spMkLst>
            <pc:docMk/>
            <pc:sldMk cId="3220395948" sldId="348"/>
            <ac:spMk id="7" creationId="{72D2927F-54CC-4798-96EB-750135C55F2A}"/>
          </ac:spMkLst>
        </pc:spChg>
        <pc:spChg chg="add del mod">
          <ac:chgData name="Maria Paula Neira Ahumada" userId="1be4c510-a3c3-4c36-a173-8667e5d06593" providerId="ADAL" clId="{A0ACC48A-C74B-4F90-AA8F-935C78D65EA4}" dt="2022-04-28T00:06:07.813" v="1889" actId="478"/>
          <ac:spMkLst>
            <pc:docMk/>
            <pc:sldMk cId="3220395948" sldId="348"/>
            <ac:spMk id="8" creationId="{8BEF0F14-C7C4-49FC-8651-F481B7FF0754}"/>
          </ac:spMkLst>
        </pc:spChg>
        <pc:graphicFrameChg chg="add del mod">
          <ac:chgData name="Maria Paula Neira Ahumada" userId="1be4c510-a3c3-4c36-a173-8667e5d06593" providerId="ADAL" clId="{A0ACC48A-C74B-4F90-AA8F-935C78D65EA4}" dt="2022-04-28T00:07:24.781" v="1894" actId="478"/>
          <ac:graphicFrameMkLst>
            <pc:docMk/>
            <pc:sldMk cId="3220395948" sldId="348"/>
            <ac:graphicFrameMk id="2" creationId="{2B26033A-FDF9-4F1B-B765-FED12A8F0467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5:33:34.586" v="23" actId="478"/>
          <ac:graphicFrameMkLst>
            <pc:docMk/>
            <pc:sldMk cId="3220395948" sldId="348"/>
            <ac:graphicFrameMk id="2" creationId="{50ED6A50-8593-4946-837B-917855F485E1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5:34:15.954" v="25"/>
          <ac:graphicFrameMkLst>
            <pc:docMk/>
            <pc:sldMk cId="3220395948" sldId="348"/>
            <ac:graphicFrameMk id="4" creationId="{4FCEB5FD-18ED-4B9F-9887-A241E00B5849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09:44.159" v="1921" actId="478"/>
          <ac:graphicFrameMkLst>
            <pc:docMk/>
            <pc:sldMk cId="3220395948" sldId="348"/>
            <ac:graphicFrameMk id="4" creationId="{53DDCAFE-4EC3-488A-BDE3-868DF2C022E4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11:09.507" v="1923"/>
          <ac:graphicFrameMkLst>
            <pc:docMk/>
            <pc:sldMk cId="3220395948" sldId="348"/>
            <ac:graphicFrameMk id="5" creationId="{5ED3653E-8E95-4B66-8817-ADB06B8F428C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5:35:56.348" v="28" actId="478"/>
          <ac:graphicFrameMkLst>
            <pc:docMk/>
            <pc:sldMk cId="3220395948" sldId="348"/>
            <ac:graphicFrameMk id="5" creationId="{B93A255E-49A4-4F8E-89AD-2FC219A1B6C5}"/>
          </ac:graphicFrameMkLst>
        </pc:graphicFrameChg>
        <pc:graphicFrameChg chg="add mod">
          <ac:chgData name="Maria Paula Neira Ahumada" userId="1be4c510-a3c3-4c36-a173-8667e5d06593" providerId="ADAL" clId="{A0ACC48A-C74B-4F90-AA8F-935C78D65EA4}" dt="2022-04-28T00:11:19.565" v="1926" actId="1076"/>
          <ac:graphicFrameMkLst>
            <pc:docMk/>
            <pc:sldMk cId="3220395948" sldId="348"/>
            <ac:graphicFrameMk id="6" creationId="{820A8BA6-F674-41E9-B4F0-E47058FB7EEC}"/>
          </ac:graphicFrameMkLst>
        </pc:graphicFrameChg>
        <pc:graphicFrameChg chg="del">
          <ac:chgData name="Maria Paula Neira Ahumada" userId="1be4c510-a3c3-4c36-a173-8667e5d06593" providerId="ADAL" clId="{A0ACC48A-C74B-4F90-AA8F-935C78D65EA4}" dt="2022-04-27T15:21:09.951" v="6" actId="478"/>
          <ac:graphicFrameMkLst>
            <pc:docMk/>
            <pc:sldMk cId="3220395948" sldId="348"/>
            <ac:graphicFrameMk id="6" creationId="{E8A8F8A6-45D1-4C75-9A5D-E0249C62F957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06:05.207" v="1888" actId="478"/>
          <ac:graphicFrameMkLst>
            <pc:docMk/>
            <pc:sldMk cId="3220395948" sldId="348"/>
            <ac:graphicFrameMk id="7" creationId="{ACA9ECA5-8447-46C1-888D-884EAC7A6A59}"/>
          </ac:graphicFrameMkLst>
        </pc:graphicFrameChg>
      </pc:sldChg>
      <pc:sldChg chg="modSp del">
        <pc:chgData name="Maria Paula Neira Ahumada" userId="1be4c510-a3c3-4c36-a173-8667e5d06593" providerId="ADAL" clId="{A0ACC48A-C74B-4F90-AA8F-935C78D65EA4}" dt="2022-04-27T15:36:20.205" v="54" actId="47"/>
        <pc:sldMkLst>
          <pc:docMk/>
          <pc:sldMk cId="2303502291" sldId="349"/>
        </pc:sldMkLst>
        <pc:graphicFrameChg chg="mod">
          <ac:chgData name="Maria Paula Neira Ahumada" userId="1be4c510-a3c3-4c36-a173-8667e5d06593" providerId="ADAL" clId="{A0ACC48A-C74B-4F90-AA8F-935C78D65EA4}" dt="2022-04-27T15:09:06.635" v="0"/>
          <ac:graphicFrameMkLst>
            <pc:docMk/>
            <pc:sldMk cId="2303502291" sldId="349"/>
            <ac:graphicFrameMk id="4" creationId="{DFB36BB7-AEB0-4762-ADDC-169162B0F513}"/>
          </ac:graphicFrameMkLst>
        </pc:graphicFrameChg>
      </pc:sldChg>
      <pc:sldChg chg="addSp delSp modSp new mod">
        <pc:chgData name="Maria Paula Neira Ahumada" userId="1be4c510-a3c3-4c36-a173-8667e5d06593" providerId="ADAL" clId="{A0ACC48A-C74B-4F90-AA8F-935C78D65EA4}" dt="2022-04-28T00:57:22.751" v="2241" actId="1076"/>
        <pc:sldMkLst>
          <pc:docMk/>
          <pc:sldMk cId="3086975803" sldId="350"/>
        </pc:sldMkLst>
        <pc:spChg chg="add mod">
          <ac:chgData name="Maria Paula Neira Ahumada" userId="1be4c510-a3c3-4c36-a173-8667e5d06593" providerId="ADAL" clId="{A0ACC48A-C74B-4F90-AA8F-935C78D65EA4}" dt="2022-04-28T00:30:20.264" v="1968" actId="20577"/>
          <ac:spMkLst>
            <pc:docMk/>
            <pc:sldMk cId="3086975803" sldId="350"/>
            <ac:spMk id="2" creationId="{E7A506B5-328B-479B-98BC-5C5D70B3FAC5}"/>
          </ac:spMkLst>
        </pc:spChg>
        <pc:spChg chg="add mod">
          <ac:chgData name="Maria Paula Neira Ahumada" userId="1be4c510-a3c3-4c36-a173-8667e5d06593" providerId="ADAL" clId="{A0ACC48A-C74B-4F90-AA8F-935C78D65EA4}" dt="2022-04-28T00:32:54.037" v="2084" actId="1076"/>
          <ac:spMkLst>
            <pc:docMk/>
            <pc:sldMk cId="3086975803" sldId="350"/>
            <ac:spMk id="4" creationId="{B2BF6988-E069-428E-985C-CD998DA42D5C}"/>
          </ac:spMkLst>
        </pc:spChg>
        <pc:spChg chg="add mod">
          <ac:chgData name="Maria Paula Neira Ahumada" userId="1be4c510-a3c3-4c36-a173-8667e5d06593" providerId="ADAL" clId="{A0ACC48A-C74B-4F90-AA8F-935C78D65EA4}" dt="2022-04-28T00:57:22.751" v="2241" actId="1076"/>
          <ac:spMkLst>
            <pc:docMk/>
            <pc:sldMk cId="3086975803" sldId="350"/>
            <ac:spMk id="6" creationId="{C17FBBCE-4F7A-43C7-A3C8-154F7AF9BD00}"/>
          </ac:spMkLst>
        </pc:spChg>
        <pc:graphicFrameChg chg="add del mod">
          <ac:chgData name="Maria Paula Neira Ahumada" userId="1be4c510-a3c3-4c36-a173-8667e5d06593" providerId="ADAL" clId="{A0ACC48A-C74B-4F90-AA8F-935C78D65EA4}" dt="2022-04-27T15:54:06.852" v="126" actId="478"/>
          <ac:graphicFrameMkLst>
            <pc:docMk/>
            <pc:sldMk cId="3086975803" sldId="350"/>
            <ac:graphicFrameMk id="3" creationId="{1C9CDF56-573B-4143-A526-6E7BDF5EF1E5}"/>
          </ac:graphicFrameMkLst>
        </pc:graphicFrameChg>
        <pc:graphicFrameChg chg="add mod">
          <ac:chgData name="Maria Paula Neira Ahumada" userId="1be4c510-a3c3-4c36-a173-8667e5d06593" providerId="ADAL" clId="{A0ACC48A-C74B-4F90-AA8F-935C78D65EA4}" dt="2022-04-28T00:33:02.907" v="2085"/>
          <ac:graphicFrameMkLst>
            <pc:docMk/>
            <pc:sldMk cId="3086975803" sldId="350"/>
            <ac:graphicFrameMk id="3" creationId="{874DF5F9-EFD5-420A-918D-73A52E443AE0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5:54:15.152" v="128" actId="478"/>
          <ac:graphicFrameMkLst>
            <pc:docMk/>
            <pc:sldMk cId="3086975803" sldId="350"/>
            <ac:graphicFrameMk id="4" creationId="{F1AC4D5F-FDF4-4063-8FF6-2B421F0EF8B6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5:56:41.158" v="130"/>
          <ac:graphicFrameMkLst>
            <pc:docMk/>
            <pc:sldMk cId="3086975803" sldId="350"/>
            <ac:graphicFrameMk id="5" creationId="{5BC38A62-8D87-4548-83A1-332F37257D52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5:57:18.096" v="134" actId="478"/>
          <ac:graphicFrameMkLst>
            <pc:docMk/>
            <pc:sldMk cId="3086975803" sldId="350"/>
            <ac:graphicFrameMk id="6" creationId="{19307A92-1ADA-4271-B023-22E5B0E5097A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6:00:48.260" v="223" actId="478"/>
          <ac:graphicFrameMkLst>
            <pc:docMk/>
            <pc:sldMk cId="3086975803" sldId="350"/>
            <ac:graphicFrameMk id="7" creationId="{78EC5466-B87C-4A28-BD8E-B6EE207C75C0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6:01:56.141" v="225"/>
          <ac:graphicFrameMkLst>
            <pc:docMk/>
            <pc:sldMk cId="3086975803" sldId="350"/>
            <ac:graphicFrameMk id="8" creationId="{940888B0-361D-4721-AF44-EB884C876F7E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6:02:10.200" v="227"/>
          <ac:graphicFrameMkLst>
            <pc:docMk/>
            <pc:sldMk cId="3086975803" sldId="350"/>
            <ac:graphicFrameMk id="9" creationId="{EA1CF5EE-0317-473D-ABE8-06371EF4E5C7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6:06:57.995" v="241" actId="478"/>
          <ac:graphicFrameMkLst>
            <pc:docMk/>
            <pc:sldMk cId="3086975803" sldId="350"/>
            <ac:graphicFrameMk id="10" creationId="{01A8C86B-A249-405D-AB00-47AC5E75ED05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5:22.427" v="322" actId="478"/>
          <ac:graphicFrameMkLst>
            <pc:docMk/>
            <pc:sldMk cId="3086975803" sldId="350"/>
            <ac:graphicFrameMk id="11" creationId="{6667AF99-3876-4709-966E-E05E91F0B80C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29:02.252" v="1951" actId="478"/>
          <ac:graphicFrameMkLst>
            <pc:docMk/>
            <pc:sldMk cId="3086975803" sldId="350"/>
            <ac:graphicFrameMk id="12" creationId="{CB2695E4-BFFD-461D-B28D-C577B620B6E1}"/>
          </ac:graphicFrameMkLst>
        </pc:graphicFrameChg>
      </pc:sldChg>
      <pc:sldChg chg="addSp delSp modSp new mod">
        <pc:chgData name="Maria Paula Neira Ahumada" userId="1be4c510-a3c3-4c36-a173-8667e5d06593" providerId="ADAL" clId="{A0ACC48A-C74B-4F90-AA8F-935C78D65EA4}" dt="2022-04-28T00:57:26.957" v="2243" actId="1076"/>
        <pc:sldMkLst>
          <pc:docMk/>
          <pc:sldMk cId="2850148631" sldId="351"/>
        </pc:sldMkLst>
        <pc:spChg chg="add del mod">
          <ac:chgData name="Maria Paula Neira Ahumada" userId="1be4c510-a3c3-4c36-a173-8667e5d06593" providerId="ADAL" clId="{A0ACC48A-C74B-4F90-AA8F-935C78D65EA4}" dt="2022-04-28T00:40:28.902" v="2092" actId="478"/>
          <ac:spMkLst>
            <pc:docMk/>
            <pc:sldMk cId="2850148631" sldId="351"/>
            <ac:spMk id="2" creationId="{0BD6E55C-FB45-4835-8B5E-B3145C1F0751}"/>
          </ac:spMkLst>
        </pc:spChg>
        <pc:spChg chg="add mod">
          <ac:chgData name="Maria Paula Neira Ahumada" userId="1be4c510-a3c3-4c36-a173-8667e5d06593" providerId="ADAL" clId="{A0ACC48A-C74B-4F90-AA8F-935C78D65EA4}" dt="2022-04-28T00:40:35.192" v="2111" actId="20577"/>
          <ac:spMkLst>
            <pc:docMk/>
            <pc:sldMk cId="2850148631" sldId="351"/>
            <ac:spMk id="5" creationId="{0D641D52-5CFE-404D-B869-9DEBA6AF6FA6}"/>
          </ac:spMkLst>
        </pc:spChg>
        <pc:spChg chg="add mod">
          <ac:chgData name="Maria Paula Neira Ahumada" userId="1be4c510-a3c3-4c36-a173-8667e5d06593" providerId="ADAL" clId="{A0ACC48A-C74B-4F90-AA8F-935C78D65EA4}" dt="2022-04-28T00:41:33.498" v="2150" actId="1076"/>
          <ac:spMkLst>
            <pc:docMk/>
            <pc:sldMk cId="2850148631" sldId="351"/>
            <ac:spMk id="6" creationId="{B48B8613-B12E-415D-9652-91282905D3C2}"/>
          </ac:spMkLst>
        </pc:spChg>
        <pc:spChg chg="add mod">
          <ac:chgData name="Maria Paula Neira Ahumada" userId="1be4c510-a3c3-4c36-a173-8667e5d06593" providerId="ADAL" clId="{A0ACC48A-C74B-4F90-AA8F-935C78D65EA4}" dt="2022-04-28T00:57:26.957" v="2243" actId="1076"/>
          <ac:spMkLst>
            <pc:docMk/>
            <pc:sldMk cId="2850148631" sldId="351"/>
            <ac:spMk id="7" creationId="{88CE550B-785D-4AD1-81F7-63120AC02C5A}"/>
          </ac:spMkLst>
        </pc:spChg>
        <pc:graphicFrameChg chg="add del mod">
          <ac:chgData name="Maria Paula Neira Ahumada" userId="1be4c510-a3c3-4c36-a173-8667e5d06593" providerId="ADAL" clId="{A0ACC48A-C74B-4F90-AA8F-935C78D65EA4}" dt="2022-04-27T16:03:55.231" v="234"/>
          <ac:graphicFrameMkLst>
            <pc:docMk/>
            <pc:sldMk cId="2850148631" sldId="351"/>
            <ac:graphicFrameMk id="3" creationId="{57662E7E-A053-41EF-8068-56B63B6FA445}"/>
          </ac:graphicFrameMkLst>
        </pc:graphicFrameChg>
        <pc:graphicFrameChg chg="add mod">
          <ac:chgData name="Maria Paula Neira Ahumada" userId="1be4c510-a3c3-4c36-a173-8667e5d06593" providerId="ADAL" clId="{A0ACC48A-C74B-4F90-AA8F-935C78D65EA4}" dt="2022-04-28T00:41:30.873" v="2149" actId="1076"/>
          <ac:graphicFrameMkLst>
            <pc:docMk/>
            <pc:sldMk cId="2850148631" sldId="351"/>
            <ac:graphicFrameMk id="3" creationId="{E692AF88-134D-4CEC-9B19-61971B19A7BD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6:04:35.568" v="237" actId="478"/>
          <ac:graphicFrameMkLst>
            <pc:docMk/>
            <pc:sldMk cId="2850148631" sldId="351"/>
            <ac:graphicFrameMk id="4" creationId="{6C7B62D9-CA9A-4ADC-B0EC-2CF8E715E06B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6:07:00.009" v="242" actId="478"/>
          <ac:graphicFrameMkLst>
            <pc:docMk/>
            <pc:sldMk cId="2850148631" sldId="351"/>
            <ac:graphicFrameMk id="5" creationId="{0A8A6A4A-6B5D-4CB6-97D0-C4E0045AE7BA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2:42.167" v="314" actId="478"/>
          <ac:graphicFrameMkLst>
            <pc:docMk/>
            <pc:sldMk cId="2850148631" sldId="351"/>
            <ac:graphicFrameMk id="6" creationId="{5D5DEB63-9B5D-4B06-8058-A624FE6EF136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5:13.371" v="321" actId="478"/>
          <ac:graphicFrameMkLst>
            <pc:docMk/>
            <pc:sldMk cId="2850148631" sldId="351"/>
            <ac:graphicFrameMk id="7" creationId="{D8F0C74E-7EC7-4052-8D16-89DC2484D2E7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5:46.998" v="325"/>
          <ac:graphicFrameMkLst>
            <pc:docMk/>
            <pc:sldMk cId="2850148631" sldId="351"/>
            <ac:graphicFrameMk id="8" creationId="{78DD6969-FE4F-4A6B-98E6-0D169131E057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6:20.460" v="330" actId="478"/>
          <ac:graphicFrameMkLst>
            <pc:docMk/>
            <pc:sldMk cId="2850148631" sldId="351"/>
            <ac:graphicFrameMk id="9" creationId="{A4E12CBE-4F58-4A5D-93DB-C3D2F9A8A92F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6:24.628" v="332"/>
          <ac:graphicFrameMkLst>
            <pc:docMk/>
            <pc:sldMk cId="2850148631" sldId="351"/>
            <ac:graphicFrameMk id="10" creationId="{12AD73F6-41B7-49C2-A643-6089833AD7AE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33:15.293" v="2086" actId="478"/>
          <ac:graphicFrameMkLst>
            <pc:docMk/>
            <pc:sldMk cId="2850148631" sldId="351"/>
            <ac:graphicFrameMk id="11" creationId="{0BEF6780-CD2F-40E6-95DB-B152F8A3B56A}"/>
          </ac:graphicFrameMkLst>
        </pc:graphicFrameChg>
      </pc:sldChg>
      <pc:sldChg chg="addSp delSp modSp new mod">
        <pc:chgData name="Maria Paula Neira Ahumada" userId="1be4c510-a3c3-4c36-a173-8667e5d06593" providerId="ADAL" clId="{A0ACC48A-C74B-4F90-AA8F-935C78D65EA4}" dt="2022-04-28T00:57:37.899" v="2247" actId="1076"/>
        <pc:sldMkLst>
          <pc:docMk/>
          <pc:sldMk cId="323017256" sldId="352"/>
        </pc:sldMkLst>
        <pc:spChg chg="add mod">
          <ac:chgData name="Maria Paula Neira Ahumada" userId="1be4c510-a3c3-4c36-a173-8667e5d06593" providerId="ADAL" clId="{A0ACC48A-C74B-4F90-AA8F-935C78D65EA4}" dt="2022-04-27T17:54:34.134" v="1493" actId="113"/>
          <ac:spMkLst>
            <pc:docMk/>
            <pc:sldMk cId="323017256" sldId="352"/>
            <ac:spMk id="2" creationId="{10A1B591-790F-4258-A244-571CFCFBB88C}"/>
          </ac:spMkLst>
        </pc:spChg>
        <pc:spChg chg="add mod">
          <ac:chgData name="Maria Paula Neira Ahumada" userId="1be4c510-a3c3-4c36-a173-8667e5d06593" providerId="ADAL" clId="{A0ACC48A-C74B-4F90-AA8F-935C78D65EA4}" dt="2022-04-28T00:57:37.899" v="2247" actId="1076"/>
          <ac:spMkLst>
            <pc:docMk/>
            <pc:sldMk cId="323017256" sldId="352"/>
            <ac:spMk id="6" creationId="{5F48704D-D3AB-41AB-A8E4-8D5C5D41B9CA}"/>
          </ac:spMkLst>
        </pc:spChg>
        <pc:graphicFrameChg chg="add mod">
          <ac:chgData name="Maria Paula Neira Ahumada" userId="1be4c510-a3c3-4c36-a173-8667e5d06593" providerId="ADAL" clId="{A0ACC48A-C74B-4F90-AA8F-935C78D65EA4}" dt="2022-04-28T00:55:40.301" v="2163" actId="1076"/>
          <ac:graphicFrameMkLst>
            <pc:docMk/>
            <pc:sldMk cId="323017256" sldId="352"/>
            <ac:graphicFrameMk id="3" creationId="{429442E0-A240-4C0D-8672-BD883D53B83F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20:42.688" v="372"/>
          <ac:graphicFrameMkLst>
            <pc:docMk/>
            <pc:sldMk cId="323017256" sldId="352"/>
            <ac:graphicFrameMk id="3" creationId="{8A88935E-6BFA-4799-97D8-712579F246C4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55:26.167" v="2158" actId="478"/>
          <ac:graphicFrameMkLst>
            <pc:docMk/>
            <pc:sldMk cId="323017256" sldId="352"/>
            <ac:graphicFrameMk id="4" creationId="{6962DF11-2BF9-4A80-95B9-99F0F3DF0136}"/>
          </ac:graphicFrameMkLst>
        </pc:graphicFrameChg>
        <pc:graphicFrameChg chg="add mod">
          <ac:chgData name="Maria Paula Neira Ahumada" userId="1be4c510-a3c3-4c36-a173-8667e5d06593" providerId="ADAL" clId="{A0ACC48A-C74B-4F90-AA8F-935C78D65EA4}" dt="2022-04-28T00:55:37.926" v="2162" actId="1076"/>
          <ac:graphicFrameMkLst>
            <pc:docMk/>
            <pc:sldMk cId="323017256" sldId="352"/>
            <ac:graphicFrameMk id="5" creationId="{D5F70728-25C2-45BB-B6E6-B350FCBE4F3B}"/>
          </ac:graphicFrameMkLst>
        </pc:graphicFrameChg>
      </pc:sldChg>
      <pc:sldChg chg="addSp delSp modSp new del mod">
        <pc:chgData name="Maria Paula Neira Ahumada" userId="1be4c510-a3c3-4c36-a173-8667e5d06593" providerId="ADAL" clId="{A0ACC48A-C74B-4F90-AA8F-935C78D65EA4}" dt="2022-04-27T17:19:14.683" v="335" actId="47"/>
        <pc:sldMkLst>
          <pc:docMk/>
          <pc:sldMk cId="834497500" sldId="352"/>
        </pc:sldMkLst>
        <pc:spChg chg="add mod">
          <ac:chgData name="Maria Paula Neira Ahumada" userId="1be4c510-a3c3-4c36-a173-8667e5d06593" providerId="ADAL" clId="{A0ACC48A-C74B-4F90-AA8F-935C78D65EA4}" dt="2022-04-27T17:06:32.104" v="313" actId="20577"/>
          <ac:spMkLst>
            <pc:docMk/>
            <pc:sldMk cId="834497500" sldId="352"/>
            <ac:spMk id="2" creationId="{7811DFFD-8CD9-4165-9CE5-4CFFC6C35378}"/>
          </ac:spMkLst>
        </pc:spChg>
        <pc:graphicFrameChg chg="add del mod">
          <ac:chgData name="Maria Paula Neira Ahumada" userId="1be4c510-a3c3-4c36-a173-8667e5d06593" providerId="ADAL" clId="{A0ACC48A-C74B-4F90-AA8F-935C78D65EA4}" dt="2022-04-27T17:15:51.656" v="327" actId="478"/>
          <ac:graphicFrameMkLst>
            <pc:docMk/>
            <pc:sldMk cId="834497500" sldId="352"/>
            <ac:graphicFrameMk id="3" creationId="{887A125C-892B-4BD4-965D-EC2482BE0536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7T17:16:29.446" v="334" actId="478"/>
          <ac:graphicFrameMkLst>
            <pc:docMk/>
            <pc:sldMk cId="834497500" sldId="352"/>
            <ac:graphicFrameMk id="4" creationId="{C776E1C4-8398-4179-8F43-6BF7027BEC5A}"/>
          </ac:graphicFrameMkLst>
        </pc:graphicFrameChg>
      </pc:sldChg>
      <pc:sldChg chg="addSp delSp modSp new del mod">
        <pc:chgData name="Maria Paula Neira Ahumada" userId="1be4c510-a3c3-4c36-a173-8667e5d06593" providerId="ADAL" clId="{A0ACC48A-C74B-4F90-AA8F-935C78D65EA4}" dt="2022-04-27T17:19:15.559" v="336" actId="47"/>
        <pc:sldMkLst>
          <pc:docMk/>
          <pc:sldMk cId="2166362983" sldId="353"/>
        </pc:sldMkLst>
        <pc:spChg chg="add del mod">
          <ac:chgData name="Maria Paula Neira Ahumada" userId="1be4c510-a3c3-4c36-a173-8667e5d06593" providerId="ADAL" clId="{A0ACC48A-C74B-4F90-AA8F-935C78D65EA4}" dt="2022-04-27T17:05:17.185" v="306"/>
          <ac:spMkLst>
            <pc:docMk/>
            <pc:sldMk cId="2166362983" sldId="353"/>
            <ac:spMk id="2" creationId="{3184E89A-AF9E-43ED-B4D8-1F15AF281D60}"/>
          </ac:spMkLst>
        </pc:spChg>
        <pc:spChg chg="add mod">
          <ac:chgData name="Maria Paula Neira Ahumada" userId="1be4c510-a3c3-4c36-a173-8667e5d06593" providerId="ADAL" clId="{A0ACC48A-C74B-4F90-AA8F-935C78D65EA4}" dt="2022-04-27T17:05:23.865" v="309" actId="20577"/>
          <ac:spMkLst>
            <pc:docMk/>
            <pc:sldMk cId="2166362983" sldId="353"/>
            <ac:spMk id="3" creationId="{9A4A19F2-E5A4-4E2F-A922-1F905B1FCBE5}"/>
          </ac:spMkLst>
        </pc:spChg>
      </pc:sldChg>
      <pc:sldChg chg="addSp delSp modSp new mod ord setBg">
        <pc:chgData name="Maria Paula Neira Ahumada" userId="1be4c510-a3c3-4c36-a173-8667e5d06593" providerId="ADAL" clId="{A0ACC48A-C74B-4F90-AA8F-935C78D65EA4}" dt="2022-04-28T00:56:29.267" v="2223" actId="14100"/>
        <pc:sldMkLst>
          <pc:docMk/>
          <pc:sldMk cId="2595063104" sldId="353"/>
        </pc:sldMkLst>
        <pc:spChg chg="add mod">
          <ac:chgData name="Maria Paula Neira Ahumada" userId="1be4c510-a3c3-4c36-a173-8667e5d06593" providerId="ADAL" clId="{A0ACC48A-C74B-4F90-AA8F-935C78D65EA4}" dt="2022-04-28T00:56:29.267" v="2223" actId="14100"/>
          <ac:spMkLst>
            <pc:docMk/>
            <pc:sldMk cId="2595063104" sldId="353"/>
            <ac:spMk id="2" creationId="{2A245B5E-3B73-4740-A913-018646BEAD0D}"/>
          </ac:spMkLst>
        </pc:spChg>
        <pc:spChg chg="add mod">
          <ac:chgData name="Maria Paula Neira Ahumada" userId="1be4c510-a3c3-4c36-a173-8667e5d06593" providerId="ADAL" clId="{A0ACC48A-C74B-4F90-AA8F-935C78D65EA4}" dt="2022-04-27T21:09:17.630" v="1582" actId="1076"/>
          <ac:spMkLst>
            <pc:docMk/>
            <pc:sldMk cId="2595063104" sldId="353"/>
            <ac:spMk id="8" creationId="{6092CA5A-0492-4814-9D21-416CAFC9A125}"/>
          </ac:spMkLst>
        </pc:spChg>
        <pc:graphicFrameChg chg="add del mod">
          <ac:chgData name="Maria Paula Neira Ahumada" userId="1be4c510-a3c3-4c36-a173-8667e5d06593" providerId="ADAL" clId="{A0ACC48A-C74B-4F90-AA8F-935C78D65EA4}" dt="2022-04-27T20:54:52.894" v="1502" actId="478"/>
          <ac:graphicFrameMkLst>
            <pc:docMk/>
            <pc:sldMk cId="2595063104" sldId="353"/>
            <ac:graphicFrameMk id="3" creationId="{02F759A9-4125-4680-9823-8E7121BAD901}"/>
          </ac:graphicFrameMkLst>
        </pc:graphicFrameChg>
        <pc:picChg chg="add del mod">
          <ac:chgData name="Maria Paula Neira Ahumada" userId="1be4c510-a3c3-4c36-a173-8667e5d06593" providerId="ADAL" clId="{A0ACC48A-C74B-4F90-AA8F-935C78D65EA4}" dt="2022-04-27T20:59:06.808" v="1504" actId="478"/>
          <ac:picMkLst>
            <pc:docMk/>
            <pc:sldMk cId="2595063104" sldId="353"/>
            <ac:picMk id="5" creationId="{A8791529-FBBA-4E13-B846-114268898551}"/>
          </ac:picMkLst>
        </pc:picChg>
        <pc:picChg chg="add del mod">
          <ac:chgData name="Maria Paula Neira Ahumada" userId="1be4c510-a3c3-4c36-a173-8667e5d06593" providerId="ADAL" clId="{A0ACC48A-C74B-4F90-AA8F-935C78D65EA4}" dt="2022-04-27T21:08:43.946" v="1576" actId="478"/>
          <ac:picMkLst>
            <pc:docMk/>
            <pc:sldMk cId="2595063104" sldId="353"/>
            <ac:picMk id="7" creationId="{F4494F15-1F89-48DC-8099-13A4923E68B7}"/>
          </ac:picMkLst>
        </pc:picChg>
        <pc:picChg chg="add del mod">
          <ac:chgData name="Maria Paula Neira Ahumada" userId="1be4c510-a3c3-4c36-a173-8667e5d06593" providerId="ADAL" clId="{A0ACC48A-C74B-4F90-AA8F-935C78D65EA4}" dt="2022-04-27T23:09:28.716" v="1861" actId="478"/>
          <ac:picMkLst>
            <pc:docMk/>
            <pc:sldMk cId="2595063104" sldId="353"/>
            <ac:picMk id="10" creationId="{828F1C6E-C75E-4D68-BA26-41D27E8972E5}"/>
          </ac:picMkLst>
        </pc:picChg>
        <pc:picChg chg="add del mod">
          <ac:chgData name="Maria Paula Neira Ahumada" userId="1be4c510-a3c3-4c36-a173-8667e5d06593" providerId="ADAL" clId="{A0ACC48A-C74B-4F90-AA8F-935C78D65EA4}" dt="2022-04-27T23:09:27.957" v="1860" actId="931"/>
          <ac:picMkLst>
            <pc:docMk/>
            <pc:sldMk cId="2595063104" sldId="353"/>
            <ac:picMk id="12" creationId="{74C1C660-9946-4687-B6A5-EB9E2C9E9547}"/>
          </ac:picMkLst>
        </pc:picChg>
        <pc:picChg chg="add del mod">
          <ac:chgData name="Maria Paula Neira Ahumada" userId="1be4c510-a3c3-4c36-a173-8667e5d06593" providerId="ADAL" clId="{A0ACC48A-C74B-4F90-AA8F-935C78D65EA4}" dt="2022-04-27T23:09:27.156" v="1858" actId="931"/>
          <ac:picMkLst>
            <pc:docMk/>
            <pc:sldMk cId="2595063104" sldId="353"/>
            <ac:picMk id="14" creationId="{BC1EF2D4-7C1A-4EC9-9AF0-899C1B71E9C5}"/>
          </ac:picMkLst>
        </pc:picChg>
      </pc:sldChg>
      <pc:sldChg chg="addSp modSp new del mod">
        <pc:chgData name="Maria Paula Neira Ahumada" userId="1be4c510-a3c3-4c36-a173-8667e5d06593" providerId="ADAL" clId="{A0ACC48A-C74B-4F90-AA8F-935C78D65EA4}" dt="2022-04-27T17:19:16.718" v="337" actId="47"/>
        <pc:sldMkLst>
          <pc:docMk/>
          <pc:sldMk cId="603869717" sldId="354"/>
        </pc:sldMkLst>
        <pc:spChg chg="add mod">
          <ac:chgData name="Maria Paula Neira Ahumada" userId="1be4c510-a3c3-4c36-a173-8667e5d06593" providerId="ADAL" clId="{A0ACC48A-C74B-4F90-AA8F-935C78D65EA4}" dt="2022-04-27T17:05:28.368" v="312" actId="20577"/>
          <ac:spMkLst>
            <pc:docMk/>
            <pc:sldMk cId="603869717" sldId="354"/>
            <ac:spMk id="2" creationId="{60CFC18C-AC41-4C87-93A0-6B11DFB07C28}"/>
          </ac:spMkLst>
        </pc:spChg>
      </pc:sldChg>
      <pc:sldChg chg="addSp delSp modSp new mod">
        <pc:chgData name="Maria Paula Neira Ahumada" userId="1be4c510-a3c3-4c36-a173-8667e5d06593" providerId="ADAL" clId="{A0ACC48A-C74B-4F90-AA8F-935C78D65EA4}" dt="2022-04-28T00:56:37.674" v="2225"/>
        <pc:sldMkLst>
          <pc:docMk/>
          <pc:sldMk cId="4149465602" sldId="354"/>
        </pc:sldMkLst>
        <pc:spChg chg="add mod">
          <ac:chgData name="Maria Paula Neira Ahumada" userId="1be4c510-a3c3-4c36-a173-8667e5d06593" providerId="ADAL" clId="{A0ACC48A-C74B-4F90-AA8F-935C78D65EA4}" dt="2022-04-27T21:17:40.759" v="1600" actId="20577"/>
          <ac:spMkLst>
            <pc:docMk/>
            <pc:sldMk cId="4149465602" sldId="354"/>
            <ac:spMk id="2" creationId="{66C18580-34E8-4FD2-89C4-55633AF5C619}"/>
          </ac:spMkLst>
        </pc:spChg>
        <pc:spChg chg="add mod">
          <ac:chgData name="Maria Paula Neira Ahumada" userId="1be4c510-a3c3-4c36-a173-8667e5d06593" providerId="ADAL" clId="{A0ACC48A-C74B-4F90-AA8F-935C78D65EA4}" dt="2022-04-28T00:56:37.674" v="2225"/>
          <ac:spMkLst>
            <pc:docMk/>
            <pc:sldMk cId="4149465602" sldId="354"/>
            <ac:spMk id="4" creationId="{4690D4EA-239B-40AD-92D5-6CB604F037E0}"/>
          </ac:spMkLst>
        </pc:spChg>
        <pc:picChg chg="add del mod">
          <ac:chgData name="Maria Paula Neira Ahumada" userId="1be4c510-a3c3-4c36-a173-8667e5d06593" providerId="ADAL" clId="{A0ACC48A-C74B-4F90-AA8F-935C78D65EA4}" dt="2022-04-27T21:18:03.900" v="1603" actId="478"/>
          <ac:picMkLst>
            <pc:docMk/>
            <pc:sldMk cId="4149465602" sldId="354"/>
            <ac:picMk id="4" creationId="{E68B1C3C-3556-4FA9-8779-87A181237BB0}"/>
          </ac:picMkLst>
        </pc:picChg>
        <pc:picChg chg="add del mod">
          <ac:chgData name="Maria Paula Neira Ahumada" userId="1be4c510-a3c3-4c36-a173-8667e5d06593" providerId="ADAL" clId="{A0ACC48A-C74B-4F90-AA8F-935C78D65EA4}" dt="2022-04-27T21:18:42.435" v="1607" actId="478"/>
          <ac:picMkLst>
            <pc:docMk/>
            <pc:sldMk cId="4149465602" sldId="354"/>
            <ac:picMk id="6" creationId="{642A5951-1B8B-43E8-9194-7E71E1D89E29}"/>
          </ac:picMkLst>
        </pc:picChg>
        <pc:picChg chg="add mod">
          <ac:chgData name="Maria Paula Neira Ahumada" userId="1be4c510-a3c3-4c36-a173-8667e5d06593" providerId="ADAL" clId="{A0ACC48A-C74B-4F90-AA8F-935C78D65EA4}" dt="2022-04-27T21:19:06.366" v="1608" actId="931"/>
          <ac:picMkLst>
            <pc:docMk/>
            <pc:sldMk cId="4149465602" sldId="354"/>
            <ac:picMk id="8" creationId="{4AA212D2-D672-4B22-86ED-F50E2313CD5F}"/>
          </ac:picMkLst>
        </pc:picChg>
      </pc:sldChg>
      <pc:sldChg chg="new del">
        <pc:chgData name="Maria Paula Neira Ahumada" userId="1be4c510-a3c3-4c36-a173-8667e5d06593" providerId="ADAL" clId="{A0ACC48A-C74B-4F90-AA8F-935C78D65EA4}" dt="2022-04-27T21:18:20.686" v="1605" actId="680"/>
        <pc:sldMkLst>
          <pc:docMk/>
          <pc:sldMk cId="1523589721" sldId="355"/>
        </pc:sldMkLst>
      </pc:sldChg>
      <pc:sldChg chg="addSp delSp modSp new mod">
        <pc:chgData name="Maria Paula Neira Ahumada" userId="1be4c510-a3c3-4c36-a173-8667e5d06593" providerId="ADAL" clId="{A0ACC48A-C74B-4F90-AA8F-935C78D65EA4}" dt="2022-04-28T00:56:48.925" v="2228"/>
        <pc:sldMkLst>
          <pc:docMk/>
          <pc:sldMk cId="2377383502" sldId="355"/>
        </pc:sldMkLst>
        <pc:spChg chg="add mod">
          <ac:chgData name="Maria Paula Neira Ahumada" userId="1be4c510-a3c3-4c36-a173-8667e5d06593" providerId="ADAL" clId="{A0ACC48A-C74B-4F90-AA8F-935C78D65EA4}" dt="2022-04-27T21:20:21.102" v="1632" actId="20577"/>
          <ac:spMkLst>
            <pc:docMk/>
            <pc:sldMk cId="2377383502" sldId="355"/>
            <ac:spMk id="2" creationId="{9D98E7DA-DE1C-43F9-9752-E48678A29CD5}"/>
          </ac:spMkLst>
        </pc:spChg>
        <pc:spChg chg="add mod">
          <ac:chgData name="Maria Paula Neira Ahumada" userId="1be4c510-a3c3-4c36-a173-8667e5d06593" providerId="ADAL" clId="{A0ACC48A-C74B-4F90-AA8F-935C78D65EA4}" dt="2022-04-28T00:56:48.925" v="2228"/>
          <ac:spMkLst>
            <pc:docMk/>
            <pc:sldMk cId="2377383502" sldId="355"/>
            <ac:spMk id="4" creationId="{9CB3DE4A-4121-4945-8A35-DFA5F0DDDCBD}"/>
          </ac:spMkLst>
        </pc:spChg>
        <pc:picChg chg="add del mod">
          <ac:chgData name="Maria Paula Neira Ahumada" userId="1be4c510-a3c3-4c36-a173-8667e5d06593" providerId="ADAL" clId="{A0ACC48A-C74B-4F90-AA8F-935C78D65EA4}" dt="2022-04-27T23:11:11.944" v="1864" actId="478"/>
          <ac:picMkLst>
            <pc:docMk/>
            <pc:sldMk cId="2377383502" sldId="355"/>
            <ac:picMk id="4" creationId="{E79B377E-7CAB-417B-B5D0-1C7D53D68642}"/>
          </ac:picMkLst>
        </pc:picChg>
        <pc:picChg chg="add mod">
          <ac:chgData name="Maria Paula Neira Ahumada" userId="1be4c510-a3c3-4c36-a173-8667e5d06593" providerId="ADAL" clId="{A0ACC48A-C74B-4F90-AA8F-935C78D65EA4}" dt="2022-04-27T23:11:23.831" v="1865" actId="931"/>
          <ac:picMkLst>
            <pc:docMk/>
            <pc:sldMk cId="2377383502" sldId="355"/>
            <ac:picMk id="6" creationId="{05D71DC1-E801-4362-B7D4-55CD87C38A78}"/>
          </ac:picMkLst>
        </pc:picChg>
      </pc:sldChg>
      <pc:sldChg chg="addSp delSp modSp new mod">
        <pc:chgData name="Maria Paula Neira Ahumada" userId="1be4c510-a3c3-4c36-a173-8667e5d06593" providerId="ADAL" clId="{A0ACC48A-C74B-4F90-AA8F-935C78D65EA4}" dt="2022-04-28T00:56:54.573" v="2230"/>
        <pc:sldMkLst>
          <pc:docMk/>
          <pc:sldMk cId="2772856237" sldId="356"/>
        </pc:sldMkLst>
        <pc:spChg chg="add mod">
          <ac:chgData name="Maria Paula Neira Ahumada" userId="1be4c510-a3c3-4c36-a173-8667e5d06593" providerId="ADAL" clId="{A0ACC48A-C74B-4F90-AA8F-935C78D65EA4}" dt="2022-04-27T21:20:46.875" v="1651" actId="20577"/>
          <ac:spMkLst>
            <pc:docMk/>
            <pc:sldMk cId="2772856237" sldId="356"/>
            <ac:spMk id="2" creationId="{30BB6A8F-AB24-4F70-B807-6006C2692D3F}"/>
          </ac:spMkLst>
        </pc:spChg>
        <pc:spChg chg="add mod">
          <ac:chgData name="Maria Paula Neira Ahumada" userId="1be4c510-a3c3-4c36-a173-8667e5d06593" providerId="ADAL" clId="{A0ACC48A-C74B-4F90-AA8F-935C78D65EA4}" dt="2022-04-28T00:56:54.573" v="2230"/>
          <ac:spMkLst>
            <pc:docMk/>
            <pc:sldMk cId="2772856237" sldId="356"/>
            <ac:spMk id="4" creationId="{F724AA6D-7573-463C-B528-7B847637ED40}"/>
          </ac:spMkLst>
        </pc:spChg>
        <pc:picChg chg="add del mod">
          <ac:chgData name="Maria Paula Neira Ahumada" userId="1be4c510-a3c3-4c36-a173-8667e5d06593" providerId="ADAL" clId="{A0ACC48A-C74B-4F90-AA8F-935C78D65EA4}" dt="2022-04-27T21:23:27.197" v="1653" actId="478"/>
          <ac:picMkLst>
            <pc:docMk/>
            <pc:sldMk cId="2772856237" sldId="356"/>
            <ac:picMk id="4" creationId="{698E5BA7-F56C-4911-B40C-84F4B1FAD435}"/>
          </ac:picMkLst>
        </pc:picChg>
        <pc:picChg chg="add del mod">
          <ac:chgData name="Maria Paula Neira Ahumada" userId="1be4c510-a3c3-4c36-a173-8667e5d06593" providerId="ADAL" clId="{A0ACC48A-C74B-4F90-AA8F-935C78D65EA4}" dt="2022-04-27T23:19:53.970" v="1880" actId="478"/>
          <ac:picMkLst>
            <pc:docMk/>
            <pc:sldMk cId="2772856237" sldId="356"/>
            <ac:picMk id="6" creationId="{AD657694-0C13-40D4-824C-28825A9BF76D}"/>
          </ac:picMkLst>
        </pc:picChg>
        <pc:picChg chg="add del mod">
          <ac:chgData name="Maria Paula Neira Ahumada" userId="1be4c510-a3c3-4c36-a173-8667e5d06593" providerId="ADAL" clId="{A0ACC48A-C74B-4F90-AA8F-935C78D65EA4}" dt="2022-04-27T23:20:07.719" v="1882" actId="478"/>
          <ac:picMkLst>
            <pc:docMk/>
            <pc:sldMk cId="2772856237" sldId="356"/>
            <ac:picMk id="8" creationId="{4D50BAB1-731A-4ED8-971C-7A002D71117E}"/>
          </ac:picMkLst>
        </pc:picChg>
        <pc:picChg chg="add del mod">
          <ac:chgData name="Maria Paula Neira Ahumada" userId="1be4c510-a3c3-4c36-a173-8667e5d06593" providerId="ADAL" clId="{A0ACC48A-C74B-4F90-AA8F-935C78D65EA4}" dt="2022-04-27T23:20:36.409" v="1884" actId="478"/>
          <ac:picMkLst>
            <pc:docMk/>
            <pc:sldMk cId="2772856237" sldId="356"/>
            <ac:picMk id="10" creationId="{7D2A5891-3D3F-477A-916D-90C5F4917EBC}"/>
          </ac:picMkLst>
        </pc:picChg>
        <pc:picChg chg="add mod">
          <ac:chgData name="Maria Paula Neira Ahumada" userId="1be4c510-a3c3-4c36-a173-8667e5d06593" providerId="ADAL" clId="{A0ACC48A-C74B-4F90-AA8F-935C78D65EA4}" dt="2022-04-27T23:20:45.922" v="1885" actId="931"/>
          <ac:picMkLst>
            <pc:docMk/>
            <pc:sldMk cId="2772856237" sldId="356"/>
            <ac:picMk id="12" creationId="{675ABFCF-D04B-422E-A1F4-0A682F1DD76C}"/>
          </ac:picMkLst>
        </pc:picChg>
      </pc:sldChg>
      <pc:sldChg chg="addSp delSp modSp new mod">
        <pc:chgData name="Maria Paula Neira Ahumada" userId="1be4c510-a3c3-4c36-a173-8667e5d06593" providerId="ADAL" clId="{A0ACC48A-C74B-4F90-AA8F-935C78D65EA4}" dt="2022-04-28T00:56:35.571" v="2224"/>
        <pc:sldMkLst>
          <pc:docMk/>
          <pc:sldMk cId="1553379991" sldId="357"/>
        </pc:sldMkLst>
        <pc:spChg chg="add mod">
          <ac:chgData name="Maria Paula Neira Ahumada" userId="1be4c510-a3c3-4c36-a173-8667e5d06593" providerId="ADAL" clId="{A0ACC48A-C74B-4F90-AA8F-935C78D65EA4}" dt="2022-04-27T21:28:03.848" v="1663" actId="20577"/>
          <ac:spMkLst>
            <pc:docMk/>
            <pc:sldMk cId="1553379991" sldId="357"/>
            <ac:spMk id="4" creationId="{C2F44A30-4B95-41C0-B5C9-6C37ECC70FB1}"/>
          </ac:spMkLst>
        </pc:spChg>
        <pc:spChg chg="add mod">
          <ac:chgData name="Maria Paula Neira Ahumada" userId="1be4c510-a3c3-4c36-a173-8667e5d06593" providerId="ADAL" clId="{A0ACC48A-C74B-4F90-AA8F-935C78D65EA4}" dt="2022-04-28T00:56:35.571" v="2224"/>
          <ac:spMkLst>
            <pc:docMk/>
            <pc:sldMk cId="1553379991" sldId="357"/>
            <ac:spMk id="5" creationId="{00663C95-95CC-45D7-A663-8D3D8E762EA3}"/>
          </ac:spMkLst>
        </pc:spChg>
        <pc:picChg chg="add del mod">
          <ac:chgData name="Maria Paula Neira Ahumada" userId="1be4c510-a3c3-4c36-a173-8667e5d06593" providerId="ADAL" clId="{A0ACC48A-C74B-4F90-AA8F-935C78D65EA4}" dt="2022-04-27T23:09:32.571" v="1862" actId="478"/>
          <ac:picMkLst>
            <pc:docMk/>
            <pc:sldMk cId="1553379991" sldId="357"/>
            <ac:picMk id="3" creationId="{283625A5-F9BC-46EC-9AF7-0456AA4A1227}"/>
          </ac:picMkLst>
        </pc:picChg>
        <pc:picChg chg="add mod">
          <ac:chgData name="Maria Paula Neira Ahumada" userId="1be4c510-a3c3-4c36-a173-8667e5d06593" providerId="ADAL" clId="{A0ACC48A-C74B-4F90-AA8F-935C78D65EA4}" dt="2022-04-27T23:09:40.100" v="1863" actId="931"/>
          <ac:picMkLst>
            <pc:docMk/>
            <pc:sldMk cId="1553379991" sldId="357"/>
            <ac:picMk id="6" creationId="{2B0034CE-49D3-4021-A4B0-37D632271BCA}"/>
          </ac:picMkLst>
        </pc:picChg>
      </pc:sldChg>
      <pc:sldChg chg="addSp modSp new mod">
        <pc:chgData name="Maria Paula Neira Ahumada" userId="1be4c510-a3c3-4c36-a173-8667e5d06593" providerId="ADAL" clId="{A0ACC48A-C74B-4F90-AA8F-935C78D65EA4}" dt="2022-04-28T00:56:43.486" v="2227" actId="1076"/>
        <pc:sldMkLst>
          <pc:docMk/>
          <pc:sldMk cId="797659859" sldId="358"/>
        </pc:sldMkLst>
        <pc:spChg chg="add mod">
          <ac:chgData name="Maria Paula Neira Ahumada" userId="1be4c510-a3c3-4c36-a173-8667e5d06593" providerId="ADAL" clId="{A0ACC48A-C74B-4F90-AA8F-935C78D65EA4}" dt="2022-04-28T00:56:43.486" v="2227" actId="1076"/>
          <ac:spMkLst>
            <pc:docMk/>
            <pc:sldMk cId="797659859" sldId="358"/>
            <ac:spMk id="4" creationId="{0A6B2CB6-ADBF-4A7C-9B4B-9AB1A5227F3E}"/>
          </ac:spMkLst>
        </pc:spChg>
        <pc:spChg chg="add mod">
          <ac:chgData name="Maria Paula Neira Ahumada" userId="1be4c510-a3c3-4c36-a173-8667e5d06593" providerId="ADAL" clId="{A0ACC48A-C74B-4F90-AA8F-935C78D65EA4}" dt="2022-04-28T00:56:39.336" v="2226"/>
          <ac:spMkLst>
            <pc:docMk/>
            <pc:sldMk cId="797659859" sldId="358"/>
            <ac:spMk id="5" creationId="{F8154D17-44DC-4608-B9B4-0001BC3E1EAB}"/>
          </ac:spMkLst>
        </pc:spChg>
        <pc:picChg chg="add mod">
          <ac:chgData name="Maria Paula Neira Ahumada" userId="1be4c510-a3c3-4c36-a173-8667e5d06593" providerId="ADAL" clId="{A0ACC48A-C74B-4F90-AA8F-935C78D65EA4}" dt="2022-04-27T21:32:05.909" v="1665" actId="931"/>
          <ac:picMkLst>
            <pc:docMk/>
            <pc:sldMk cId="797659859" sldId="358"/>
            <ac:picMk id="3" creationId="{9A1CA3AF-3D1F-4BCB-8B8A-24CCD528DABF}"/>
          </ac:picMkLst>
        </pc:picChg>
      </pc:sldChg>
      <pc:sldChg chg="addSp delSp modSp new mod">
        <pc:chgData name="Maria Paula Neira Ahumada" userId="1be4c510-a3c3-4c36-a173-8667e5d06593" providerId="ADAL" clId="{A0ACC48A-C74B-4F90-AA8F-935C78D65EA4}" dt="2022-04-28T00:56:51.518" v="2229"/>
        <pc:sldMkLst>
          <pc:docMk/>
          <pc:sldMk cId="989040273" sldId="359"/>
        </pc:sldMkLst>
        <pc:spChg chg="add mod">
          <ac:chgData name="Maria Paula Neira Ahumada" userId="1be4c510-a3c3-4c36-a173-8667e5d06593" providerId="ADAL" clId="{A0ACC48A-C74B-4F90-AA8F-935C78D65EA4}" dt="2022-04-28T00:56:51.518" v="2229"/>
          <ac:spMkLst>
            <pc:docMk/>
            <pc:sldMk cId="989040273" sldId="359"/>
            <ac:spMk id="4" creationId="{9FF2EBBD-8E36-407E-B882-C29619431745}"/>
          </ac:spMkLst>
        </pc:spChg>
        <pc:spChg chg="add mod">
          <ac:chgData name="Maria Paula Neira Ahumada" userId="1be4c510-a3c3-4c36-a173-8667e5d06593" providerId="ADAL" clId="{A0ACC48A-C74B-4F90-AA8F-935C78D65EA4}" dt="2022-04-27T21:48:18.513" v="1751" actId="1076"/>
          <ac:spMkLst>
            <pc:docMk/>
            <pc:sldMk cId="989040273" sldId="359"/>
            <ac:spMk id="14" creationId="{68CB6698-F2E8-49AB-8B31-C841539195DC}"/>
          </ac:spMkLst>
        </pc:spChg>
        <pc:picChg chg="add del mod">
          <ac:chgData name="Maria Paula Neira Ahumada" userId="1be4c510-a3c3-4c36-a173-8667e5d06593" providerId="ADAL" clId="{A0ACC48A-C74B-4F90-AA8F-935C78D65EA4}" dt="2022-04-27T21:45:38.450" v="1684" actId="478"/>
          <ac:picMkLst>
            <pc:docMk/>
            <pc:sldMk cId="989040273" sldId="359"/>
            <ac:picMk id="3" creationId="{DC231573-B7C5-4F29-92ED-D94095ED51CF}"/>
          </ac:picMkLst>
        </pc:picChg>
        <pc:picChg chg="add del mod">
          <ac:chgData name="Maria Paula Neira Ahumada" userId="1be4c510-a3c3-4c36-a173-8667e5d06593" providerId="ADAL" clId="{A0ACC48A-C74B-4F90-AA8F-935C78D65EA4}" dt="2022-04-27T21:46:09.870" v="1688" actId="478"/>
          <ac:picMkLst>
            <pc:docMk/>
            <pc:sldMk cId="989040273" sldId="359"/>
            <ac:picMk id="5" creationId="{AE8EDE24-B229-4FE1-BD6F-95A03B1A10B6}"/>
          </ac:picMkLst>
        </pc:picChg>
        <pc:picChg chg="add del mod">
          <ac:chgData name="Maria Paula Neira Ahumada" userId="1be4c510-a3c3-4c36-a173-8667e5d06593" providerId="ADAL" clId="{A0ACC48A-C74B-4F90-AA8F-935C78D65EA4}" dt="2022-04-27T21:46:30.164" v="1690" actId="478"/>
          <ac:picMkLst>
            <pc:docMk/>
            <pc:sldMk cId="989040273" sldId="359"/>
            <ac:picMk id="7" creationId="{156C5391-14B1-49C3-92ED-62B61E157093}"/>
          </ac:picMkLst>
        </pc:picChg>
        <pc:picChg chg="add del mod">
          <ac:chgData name="Maria Paula Neira Ahumada" userId="1be4c510-a3c3-4c36-a173-8667e5d06593" providerId="ADAL" clId="{A0ACC48A-C74B-4F90-AA8F-935C78D65EA4}" dt="2022-04-27T21:46:56.904" v="1692" actId="478"/>
          <ac:picMkLst>
            <pc:docMk/>
            <pc:sldMk cId="989040273" sldId="359"/>
            <ac:picMk id="9" creationId="{163FD2DA-634A-4690-9DEB-6ABBA7C18780}"/>
          </ac:picMkLst>
        </pc:picChg>
        <pc:picChg chg="add del mod">
          <ac:chgData name="Maria Paula Neira Ahumada" userId="1be4c510-a3c3-4c36-a173-8667e5d06593" providerId="ADAL" clId="{A0ACC48A-C74B-4F90-AA8F-935C78D65EA4}" dt="2022-04-27T21:47:20.452" v="1694" actId="478"/>
          <ac:picMkLst>
            <pc:docMk/>
            <pc:sldMk cId="989040273" sldId="359"/>
            <ac:picMk id="11" creationId="{8DA54576-E367-4BEB-83C3-8051B6B6035F}"/>
          </ac:picMkLst>
        </pc:picChg>
        <pc:picChg chg="add del mod">
          <ac:chgData name="Maria Paula Neira Ahumada" userId="1be4c510-a3c3-4c36-a173-8667e5d06593" providerId="ADAL" clId="{A0ACC48A-C74B-4F90-AA8F-935C78D65EA4}" dt="2022-04-27T23:17:04.697" v="1866" actId="478"/>
          <ac:picMkLst>
            <pc:docMk/>
            <pc:sldMk cId="989040273" sldId="359"/>
            <ac:picMk id="13" creationId="{EA3EEE1F-E4A5-4E44-BDED-5A1C57C6DFB9}"/>
          </ac:picMkLst>
        </pc:picChg>
        <pc:picChg chg="add del mod">
          <ac:chgData name="Maria Paula Neira Ahumada" userId="1be4c510-a3c3-4c36-a173-8667e5d06593" providerId="ADAL" clId="{A0ACC48A-C74B-4F90-AA8F-935C78D65EA4}" dt="2022-04-27T23:17:39.317" v="1868" actId="478"/>
          <ac:picMkLst>
            <pc:docMk/>
            <pc:sldMk cId="989040273" sldId="359"/>
            <ac:picMk id="16" creationId="{CA8C68EE-B8B5-41FF-BF65-E65FF64381E6}"/>
          </ac:picMkLst>
        </pc:picChg>
        <pc:picChg chg="add del mod">
          <ac:chgData name="Maria Paula Neira Ahumada" userId="1be4c510-a3c3-4c36-a173-8667e5d06593" providerId="ADAL" clId="{A0ACC48A-C74B-4F90-AA8F-935C78D65EA4}" dt="2022-04-27T23:18:06.931" v="1874" actId="478"/>
          <ac:picMkLst>
            <pc:docMk/>
            <pc:sldMk cId="989040273" sldId="359"/>
            <ac:picMk id="18" creationId="{B43BFA86-7731-446C-9E68-6DE1673BAE8C}"/>
          </ac:picMkLst>
        </pc:picChg>
        <pc:picChg chg="add del mod">
          <ac:chgData name="Maria Paula Neira Ahumada" userId="1be4c510-a3c3-4c36-a173-8667e5d06593" providerId="ADAL" clId="{A0ACC48A-C74B-4F90-AA8F-935C78D65EA4}" dt="2022-04-27T23:18:20.695" v="1876" actId="478"/>
          <ac:picMkLst>
            <pc:docMk/>
            <pc:sldMk cId="989040273" sldId="359"/>
            <ac:picMk id="20" creationId="{2510D894-0A4B-4ABE-82CF-CB25D59C839D}"/>
          </ac:picMkLst>
        </pc:picChg>
        <pc:picChg chg="add del mod">
          <ac:chgData name="Maria Paula Neira Ahumada" userId="1be4c510-a3c3-4c36-a173-8667e5d06593" providerId="ADAL" clId="{A0ACC48A-C74B-4F90-AA8F-935C78D65EA4}" dt="2022-04-27T23:18:48.112" v="1878" actId="478"/>
          <ac:picMkLst>
            <pc:docMk/>
            <pc:sldMk cId="989040273" sldId="359"/>
            <ac:picMk id="22" creationId="{831C4039-6255-42A8-BD09-F875305F3DCC}"/>
          </ac:picMkLst>
        </pc:picChg>
        <pc:picChg chg="add mod">
          <ac:chgData name="Maria Paula Neira Ahumada" userId="1be4c510-a3c3-4c36-a173-8667e5d06593" providerId="ADAL" clId="{A0ACC48A-C74B-4F90-AA8F-935C78D65EA4}" dt="2022-04-27T23:19:08.677" v="1879" actId="931"/>
          <ac:picMkLst>
            <pc:docMk/>
            <pc:sldMk cId="989040273" sldId="359"/>
            <ac:picMk id="24" creationId="{66009E7F-6258-4608-81B1-D2476A1E9B0E}"/>
          </ac:picMkLst>
        </pc:picChg>
      </pc:sldChg>
      <pc:sldChg chg="new del">
        <pc:chgData name="Maria Paula Neira Ahumada" userId="1be4c510-a3c3-4c36-a173-8667e5d06593" providerId="ADAL" clId="{A0ACC48A-C74B-4F90-AA8F-935C78D65EA4}" dt="2022-04-27T21:45:53.789" v="1686" actId="680"/>
        <pc:sldMkLst>
          <pc:docMk/>
          <pc:sldMk cId="513394323" sldId="360"/>
        </pc:sldMkLst>
      </pc:sldChg>
      <pc:sldChg chg="addSp delSp modSp new mod">
        <pc:chgData name="Maria Paula Neira Ahumada" userId="1be4c510-a3c3-4c36-a173-8667e5d06593" providerId="ADAL" clId="{A0ACC48A-C74B-4F90-AA8F-935C78D65EA4}" dt="2022-04-28T00:56:56.553" v="2231"/>
        <pc:sldMkLst>
          <pc:docMk/>
          <pc:sldMk cId="2739184286" sldId="360"/>
        </pc:sldMkLst>
        <pc:spChg chg="add mod">
          <ac:chgData name="Maria Paula Neira Ahumada" userId="1be4c510-a3c3-4c36-a173-8667e5d06593" providerId="ADAL" clId="{A0ACC48A-C74B-4F90-AA8F-935C78D65EA4}" dt="2022-04-27T21:50:48.895" v="1771" actId="20577"/>
          <ac:spMkLst>
            <pc:docMk/>
            <pc:sldMk cId="2739184286" sldId="360"/>
            <ac:spMk id="2" creationId="{1B134C55-528E-49CF-B20E-7861123BF02C}"/>
          </ac:spMkLst>
        </pc:spChg>
        <pc:spChg chg="add mod">
          <ac:chgData name="Maria Paula Neira Ahumada" userId="1be4c510-a3c3-4c36-a173-8667e5d06593" providerId="ADAL" clId="{A0ACC48A-C74B-4F90-AA8F-935C78D65EA4}" dt="2022-04-28T00:56:56.553" v="2231"/>
          <ac:spMkLst>
            <pc:docMk/>
            <pc:sldMk cId="2739184286" sldId="360"/>
            <ac:spMk id="4" creationId="{A020843E-02C2-4F45-9A06-D0B281159C33}"/>
          </ac:spMkLst>
        </pc:spChg>
        <pc:picChg chg="add del mod">
          <ac:chgData name="Maria Paula Neira Ahumada" userId="1be4c510-a3c3-4c36-a173-8667e5d06593" providerId="ADAL" clId="{A0ACC48A-C74B-4F90-AA8F-935C78D65EA4}" dt="2022-04-27T21:51:06.615" v="1773" actId="478"/>
          <ac:picMkLst>
            <pc:docMk/>
            <pc:sldMk cId="2739184286" sldId="360"/>
            <ac:picMk id="4" creationId="{C2FAA2B7-4FD3-4604-9884-B2DA006B5691}"/>
          </ac:picMkLst>
        </pc:picChg>
        <pc:picChg chg="add del mod">
          <ac:chgData name="Maria Paula Neira Ahumada" userId="1be4c510-a3c3-4c36-a173-8667e5d06593" providerId="ADAL" clId="{A0ACC48A-C74B-4F90-AA8F-935C78D65EA4}" dt="2022-04-27T23:22:04.308" v="1886" actId="478"/>
          <ac:picMkLst>
            <pc:docMk/>
            <pc:sldMk cId="2739184286" sldId="360"/>
            <ac:picMk id="6" creationId="{4E33D1EE-6C0A-4B8E-8F9B-7419E5F6BB1F}"/>
          </ac:picMkLst>
        </pc:picChg>
        <pc:picChg chg="add mod">
          <ac:chgData name="Maria Paula Neira Ahumada" userId="1be4c510-a3c3-4c36-a173-8667e5d06593" providerId="ADAL" clId="{A0ACC48A-C74B-4F90-AA8F-935C78D65EA4}" dt="2022-04-27T23:22:12.054" v="1887" actId="931"/>
          <ac:picMkLst>
            <pc:docMk/>
            <pc:sldMk cId="2739184286" sldId="360"/>
            <ac:picMk id="8" creationId="{72D0E838-1779-4731-8BDA-F9CDAC94A7C2}"/>
          </ac:picMkLst>
        </pc:picChg>
      </pc:sldChg>
      <pc:sldChg chg="addSp delSp modSp new mod">
        <pc:chgData name="Maria Paula Neira Ahumada" userId="1be4c510-a3c3-4c36-a173-8667e5d06593" providerId="ADAL" clId="{A0ACC48A-C74B-4F90-AA8F-935C78D65EA4}" dt="2022-04-28T00:56:58.523" v="2232"/>
        <pc:sldMkLst>
          <pc:docMk/>
          <pc:sldMk cId="1705163834" sldId="361"/>
        </pc:sldMkLst>
        <pc:spChg chg="add mod">
          <ac:chgData name="Maria Paula Neira Ahumada" userId="1be4c510-a3c3-4c36-a173-8667e5d06593" providerId="ADAL" clId="{A0ACC48A-C74B-4F90-AA8F-935C78D65EA4}" dt="2022-04-28T00:56:58.523" v="2232"/>
          <ac:spMkLst>
            <pc:docMk/>
            <pc:sldMk cId="1705163834" sldId="361"/>
            <ac:spMk id="4" creationId="{08EB9977-E69C-4EDE-9C8D-9BB5A664BC37}"/>
          </ac:spMkLst>
        </pc:spChg>
        <pc:spChg chg="add mod">
          <ac:chgData name="Maria Paula Neira Ahumada" userId="1be4c510-a3c3-4c36-a173-8667e5d06593" providerId="ADAL" clId="{A0ACC48A-C74B-4F90-AA8F-935C78D65EA4}" dt="2022-04-27T22:56:19.334" v="1822" actId="20577"/>
          <ac:spMkLst>
            <pc:docMk/>
            <pc:sldMk cId="1705163834" sldId="361"/>
            <ac:spMk id="6" creationId="{356825A1-BB43-411F-9818-01411EF91081}"/>
          </ac:spMkLst>
        </pc:spChg>
        <pc:picChg chg="add del mod">
          <ac:chgData name="Maria Paula Neira Ahumada" userId="1be4c510-a3c3-4c36-a173-8667e5d06593" providerId="ADAL" clId="{A0ACC48A-C74B-4F90-AA8F-935C78D65EA4}" dt="2022-04-27T22:55:34.934" v="1777" actId="478"/>
          <ac:picMkLst>
            <pc:docMk/>
            <pc:sldMk cId="1705163834" sldId="361"/>
            <ac:picMk id="3" creationId="{B8E4F194-DD23-41E0-B2A7-4C352D9B1716}"/>
          </ac:picMkLst>
        </pc:picChg>
        <pc:picChg chg="add mod">
          <ac:chgData name="Maria Paula Neira Ahumada" userId="1be4c510-a3c3-4c36-a173-8667e5d06593" providerId="ADAL" clId="{A0ACC48A-C74B-4F90-AA8F-935C78D65EA4}" dt="2022-04-27T22:55:56.934" v="1778" actId="931"/>
          <ac:picMkLst>
            <pc:docMk/>
            <pc:sldMk cId="1705163834" sldId="361"/>
            <ac:picMk id="5" creationId="{4C23D11E-7CB6-4B10-AAE8-ADC38F847BC8}"/>
          </ac:picMkLst>
        </pc:picChg>
      </pc:sldChg>
      <pc:sldChg chg="addSp delSp modSp new mod">
        <pc:chgData name="Maria Paula Neira Ahumada" userId="1be4c510-a3c3-4c36-a173-8667e5d06593" providerId="ADAL" clId="{A0ACC48A-C74B-4F90-AA8F-935C78D65EA4}" dt="2022-04-28T00:57:00.219" v="2233"/>
        <pc:sldMkLst>
          <pc:docMk/>
          <pc:sldMk cId="4014281548" sldId="362"/>
        </pc:sldMkLst>
        <pc:spChg chg="add mod">
          <ac:chgData name="Maria Paula Neira Ahumada" userId="1be4c510-a3c3-4c36-a173-8667e5d06593" providerId="ADAL" clId="{A0ACC48A-C74B-4F90-AA8F-935C78D65EA4}" dt="2022-04-28T00:57:00.219" v="2233"/>
          <ac:spMkLst>
            <pc:docMk/>
            <pc:sldMk cId="4014281548" sldId="362"/>
            <ac:spMk id="4" creationId="{ACAE6BE0-6708-4D87-896A-53DB8A0CBC1F}"/>
          </ac:spMkLst>
        </pc:spChg>
        <pc:spChg chg="add mod">
          <ac:chgData name="Maria Paula Neira Ahumada" userId="1be4c510-a3c3-4c36-a173-8667e5d06593" providerId="ADAL" clId="{A0ACC48A-C74B-4F90-AA8F-935C78D65EA4}" dt="2022-04-27T23:05:58.586" v="1853" actId="20577"/>
          <ac:spMkLst>
            <pc:docMk/>
            <pc:sldMk cId="4014281548" sldId="362"/>
            <ac:spMk id="14" creationId="{3661F93F-DD9E-4D3D-B99F-487182AFBEAA}"/>
          </ac:spMkLst>
        </pc:spChg>
        <pc:picChg chg="add del mod">
          <ac:chgData name="Maria Paula Neira Ahumada" userId="1be4c510-a3c3-4c36-a173-8667e5d06593" providerId="ADAL" clId="{A0ACC48A-C74B-4F90-AA8F-935C78D65EA4}" dt="2022-04-27T23:01:38.326" v="1825" actId="478"/>
          <ac:picMkLst>
            <pc:docMk/>
            <pc:sldMk cId="4014281548" sldId="362"/>
            <ac:picMk id="3" creationId="{34809B22-9D50-44CC-B6BA-0301D8DC342A}"/>
          </ac:picMkLst>
        </pc:picChg>
        <pc:picChg chg="add del mod">
          <ac:chgData name="Maria Paula Neira Ahumada" userId="1be4c510-a3c3-4c36-a173-8667e5d06593" providerId="ADAL" clId="{A0ACC48A-C74B-4F90-AA8F-935C78D65EA4}" dt="2022-04-27T23:02:44.062" v="1827" actId="478"/>
          <ac:picMkLst>
            <pc:docMk/>
            <pc:sldMk cId="4014281548" sldId="362"/>
            <ac:picMk id="5" creationId="{FCB3C009-1996-4704-A490-7B8F334DA51E}"/>
          </ac:picMkLst>
        </pc:picChg>
        <pc:picChg chg="add del mod">
          <ac:chgData name="Maria Paula Neira Ahumada" userId="1be4c510-a3c3-4c36-a173-8667e5d06593" providerId="ADAL" clId="{A0ACC48A-C74B-4F90-AA8F-935C78D65EA4}" dt="2022-04-27T23:03:13.301" v="1829" actId="478"/>
          <ac:picMkLst>
            <pc:docMk/>
            <pc:sldMk cId="4014281548" sldId="362"/>
            <ac:picMk id="7" creationId="{BCDD55EB-81E2-42DC-81AF-DF0EBBEF16F4}"/>
          </ac:picMkLst>
        </pc:picChg>
        <pc:picChg chg="add del mod">
          <ac:chgData name="Maria Paula Neira Ahumada" userId="1be4c510-a3c3-4c36-a173-8667e5d06593" providerId="ADAL" clId="{A0ACC48A-C74B-4F90-AA8F-935C78D65EA4}" dt="2022-04-27T23:03:40.747" v="1831" actId="478"/>
          <ac:picMkLst>
            <pc:docMk/>
            <pc:sldMk cId="4014281548" sldId="362"/>
            <ac:picMk id="9" creationId="{BB18554E-7CA9-4DA9-96B1-C2B91FD1AE61}"/>
          </ac:picMkLst>
        </pc:picChg>
        <pc:picChg chg="add del mod">
          <ac:chgData name="Maria Paula Neira Ahumada" userId="1be4c510-a3c3-4c36-a173-8667e5d06593" providerId="ADAL" clId="{A0ACC48A-C74B-4F90-AA8F-935C78D65EA4}" dt="2022-04-27T23:04:03.077" v="1833" actId="478"/>
          <ac:picMkLst>
            <pc:docMk/>
            <pc:sldMk cId="4014281548" sldId="362"/>
            <ac:picMk id="11" creationId="{0FF3D4EC-C91E-4295-9C71-4744D94BB863}"/>
          </ac:picMkLst>
        </pc:picChg>
        <pc:picChg chg="add mod">
          <ac:chgData name="Maria Paula Neira Ahumada" userId="1be4c510-a3c3-4c36-a173-8667e5d06593" providerId="ADAL" clId="{A0ACC48A-C74B-4F90-AA8F-935C78D65EA4}" dt="2022-04-27T23:04:33.416" v="1834" actId="931"/>
          <ac:picMkLst>
            <pc:docMk/>
            <pc:sldMk cId="4014281548" sldId="362"/>
            <ac:picMk id="13" creationId="{407C8FDF-3AD4-410C-8F86-B22E1AFF80FE}"/>
          </ac:picMkLst>
        </pc:picChg>
      </pc:sldChg>
      <pc:sldChg chg="new del">
        <pc:chgData name="Maria Paula Neira Ahumada" userId="1be4c510-a3c3-4c36-a173-8667e5d06593" providerId="ADAL" clId="{A0ACC48A-C74B-4F90-AA8F-935C78D65EA4}" dt="2022-04-27T23:18:04.643" v="1872" actId="680"/>
        <pc:sldMkLst>
          <pc:docMk/>
          <pc:sldMk cId="420749311" sldId="363"/>
        </pc:sldMkLst>
      </pc:sldChg>
      <pc:sldChg chg="addSp delSp modSp new mod">
        <pc:chgData name="Maria Paula Neira Ahumada" userId="1be4c510-a3c3-4c36-a173-8667e5d06593" providerId="ADAL" clId="{A0ACC48A-C74B-4F90-AA8F-935C78D65EA4}" dt="2022-04-28T00:58:30.007" v="2252" actId="20577"/>
        <pc:sldMkLst>
          <pc:docMk/>
          <pc:sldMk cId="2884514010" sldId="363"/>
        </pc:sldMkLst>
        <pc:spChg chg="add mod">
          <ac:chgData name="Maria Paula Neira Ahumada" userId="1be4c510-a3c3-4c36-a173-8667e5d06593" providerId="ADAL" clId="{A0ACC48A-C74B-4F90-AA8F-935C78D65EA4}" dt="2022-04-28T00:58:30.007" v="2252" actId="20577"/>
          <ac:spMkLst>
            <pc:docMk/>
            <pc:sldMk cId="2884514010" sldId="363"/>
            <ac:spMk id="2" creationId="{01D9D02E-B079-4936-ADB6-A46682110106}"/>
          </ac:spMkLst>
        </pc:spChg>
        <pc:spChg chg="add mod">
          <ac:chgData name="Maria Paula Neira Ahumada" userId="1be4c510-a3c3-4c36-a173-8667e5d06593" providerId="ADAL" clId="{A0ACC48A-C74B-4F90-AA8F-935C78D65EA4}" dt="2022-04-28T00:57:13.185" v="2238"/>
          <ac:spMkLst>
            <pc:docMk/>
            <pc:sldMk cId="2884514010" sldId="363"/>
            <ac:spMk id="6" creationId="{65771515-FD91-4D8B-9FBD-B425A68B3987}"/>
          </ac:spMkLst>
        </pc:spChg>
        <pc:graphicFrameChg chg="add del mod">
          <ac:chgData name="Maria Paula Neira Ahumada" userId="1be4c510-a3c3-4c36-a173-8667e5d06593" providerId="ADAL" clId="{A0ACC48A-C74B-4F90-AA8F-935C78D65EA4}" dt="2022-04-28T00:09:40.614" v="1920" actId="478"/>
          <ac:graphicFrameMkLst>
            <pc:docMk/>
            <pc:sldMk cId="2884514010" sldId="363"/>
            <ac:graphicFrameMk id="3" creationId="{68F8FF08-314D-4F63-88C4-743C694CCC6E}"/>
          </ac:graphicFrameMkLst>
        </pc:graphicFrameChg>
        <pc:graphicFrameChg chg="add del mod">
          <ac:chgData name="Maria Paula Neira Ahumada" userId="1be4c510-a3c3-4c36-a173-8667e5d06593" providerId="ADAL" clId="{A0ACC48A-C74B-4F90-AA8F-935C78D65EA4}" dt="2022-04-28T00:11:28.981" v="1928"/>
          <ac:graphicFrameMkLst>
            <pc:docMk/>
            <pc:sldMk cId="2884514010" sldId="363"/>
            <ac:graphicFrameMk id="4" creationId="{46845409-5A49-4B2B-B28E-DD06555A780D}"/>
          </ac:graphicFrameMkLst>
        </pc:graphicFrameChg>
        <pc:graphicFrameChg chg="add mod">
          <ac:chgData name="Maria Paula Neira Ahumada" userId="1be4c510-a3c3-4c36-a173-8667e5d06593" providerId="ADAL" clId="{A0ACC48A-C74B-4F90-AA8F-935C78D65EA4}" dt="2022-04-28T00:11:35.360" v="1931" actId="1076"/>
          <ac:graphicFrameMkLst>
            <pc:docMk/>
            <pc:sldMk cId="2884514010" sldId="363"/>
            <ac:graphicFrameMk id="5" creationId="{D7D3B7B0-F735-4BD1-9989-2C09519F67DA}"/>
          </ac:graphicFrameMkLst>
        </pc:graphicFrameChg>
      </pc:sldChg>
      <pc:sldChg chg="addSp modSp new mod">
        <pc:chgData name="Maria Paula Neira Ahumada" userId="1be4c510-a3c3-4c36-a173-8667e5d06593" providerId="ADAL" clId="{A0ACC48A-C74B-4F90-AA8F-935C78D65EA4}" dt="2022-04-28T00:58:40.218" v="2254" actId="20577"/>
        <pc:sldMkLst>
          <pc:docMk/>
          <pc:sldMk cId="1901900950" sldId="364"/>
        </pc:sldMkLst>
        <pc:spChg chg="add mod">
          <ac:chgData name="Maria Paula Neira Ahumada" userId="1be4c510-a3c3-4c36-a173-8667e5d06593" providerId="ADAL" clId="{A0ACC48A-C74B-4F90-AA8F-935C78D65EA4}" dt="2022-04-28T00:58:40.218" v="2254" actId="20577"/>
          <ac:spMkLst>
            <pc:docMk/>
            <pc:sldMk cId="1901900950" sldId="364"/>
            <ac:spMk id="2" creationId="{52D64924-D03D-45CA-BD27-66780FA55397}"/>
          </ac:spMkLst>
        </pc:spChg>
        <pc:spChg chg="add mod">
          <ac:chgData name="Maria Paula Neira Ahumada" userId="1be4c510-a3c3-4c36-a173-8667e5d06593" providerId="ADAL" clId="{A0ACC48A-C74B-4F90-AA8F-935C78D65EA4}" dt="2022-04-28T00:57:17.625" v="2239"/>
          <ac:spMkLst>
            <pc:docMk/>
            <pc:sldMk cId="1901900950" sldId="364"/>
            <ac:spMk id="4" creationId="{F33B1C4F-2058-4906-A7CC-0192FBB52353}"/>
          </ac:spMkLst>
        </pc:spChg>
        <pc:graphicFrameChg chg="add mod">
          <ac:chgData name="Maria Paula Neira Ahumada" userId="1be4c510-a3c3-4c36-a173-8667e5d06593" providerId="ADAL" clId="{A0ACC48A-C74B-4F90-AA8F-935C78D65EA4}" dt="2022-04-28T00:12:02.103" v="1950"/>
          <ac:graphicFrameMkLst>
            <pc:docMk/>
            <pc:sldMk cId="1901900950" sldId="364"/>
            <ac:graphicFrameMk id="3" creationId="{C51B4CA6-7DA6-4617-85E1-352A514F936C}"/>
          </ac:graphicFrameMkLst>
        </pc:graphicFrameChg>
      </pc:sldChg>
      <pc:sldChg chg="addSp delSp modSp new mod">
        <pc:chgData name="Maria Paula Neira Ahumada" userId="1be4c510-a3c3-4c36-a173-8667e5d06593" providerId="ADAL" clId="{A0ACC48A-C74B-4F90-AA8F-935C78D65EA4}" dt="2022-04-28T00:57:33.340" v="2245" actId="1076"/>
        <pc:sldMkLst>
          <pc:docMk/>
          <pc:sldMk cId="2779280966" sldId="365"/>
        </pc:sldMkLst>
        <pc:spChg chg="add mod">
          <ac:chgData name="Maria Paula Neira Ahumada" userId="1be4c510-a3c3-4c36-a173-8667e5d06593" providerId="ADAL" clId="{A0ACC48A-C74B-4F90-AA8F-935C78D65EA4}" dt="2022-04-28T00:41:00.792" v="2129" actId="20577"/>
          <ac:spMkLst>
            <pc:docMk/>
            <pc:sldMk cId="2779280966" sldId="365"/>
            <ac:spMk id="2" creationId="{21BF77DA-EDCF-4D6C-9127-0CDCFCBD9CD5}"/>
          </ac:spMkLst>
        </pc:spChg>
        <pc:spChg chg="add mod">
          <ac:chgData name="Maria Paula Neira Ahumada" userId="1be4c510-a3c3-4c36-a173-8667e5d06593" providerId="ADAL" clId="{A0ACC48A-C74B-4F90-AA8F-935C78D65EA4}" dt="2022-04-28T00:48:46.904" v="2157" actId="1076"/>
          <ac:spMkLst>
            <pc:docMk/>
            <pc:sldMk cId="2779280966" sldId="365"/>
            <ac:spMk id="5" creationId="{9ABCB37F-2909-4C80-9F3F-4FC84DA3848C}"/>
          </ac:spMkLst>
        </pc:spChg>
        <pc:spChg chg="add mod">
          <ac:chgData name="Maria Paula Neira Ahumada" userId="1be4c510-a3c3-4c36-a173-8667e5d06593" providerId="ADAL" clId="{A0ACC48A-C74B-4F90-AA8F-935C78D65EA4}" dt="2022-04-28T00:57:33.340" v="2245" actId="1076"/>
          <ac:spMkLst>
            <pc:docMk/>
            <pc:sldMk cId="2779280966" sldId="365"/>
            <ac:spMk id="6" creationId="{82D0AA43-5286-46FB-AF56-67B6FF6AECB8}"/>
          </ac:spMkLst>
        </pc:spChg>
        <pc:graphicFrameChg chg="add del mod">
          <ac:chgData name="Maria Paula Neira Ahumada" userId="1be4c510-a3c3-4c36-a173-8667e5d06593" providerId="ADAL" clId="{A0ACC48A-C74B-4F90-AA8F-935C78D65EA4}" dt="2022-04-28T00:48:30.381" v="2152"/>
          <ac:graphicFrameMkLst>
            <pc:docMk/>
            <pc:sldMk cId="2779280966" sldId="365"/>
            <ac:graphicFrameMk id="3" creationId="{90E173EC-20B5-4962-8BDD-81F7908A0B38}"/>
          </ac:graphicFrameMkLst>
        </pc:graphicFrameChg>
        <pc:graphicFrameChg chg="add mod">
          <ac:chgData name="Maria Paula Neira Ahumada" userId="1be4c510-a3c3-4c36-a173-8667e5d06593" providerId="ADAL" clId="{A0ACC48A-C74B-4F90-AA8F-935C78D65EA4}" dt="2022-04-28T00:48:36.418" v="2155" actId="1076"/>
          <ac:graphicFrameMkLst>
            <pc:docMk/>
            <pc:sldMk cId="2779280966" sldId="365"/>
            <ac:graphicFrameMk id="4" creationId="{DE3AD5BE-706D-4ABC-86AA-6993A00C1053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C67FAF-BB99-5A44-8B39-D9C3CDA803DB}" type="doc">
      <dgm:prSet loTypeId="urn:microsoft.com/office/officeart/2005/8/layout/vList2" loCatId="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s-ES"/>
        </a:p>
      </dgm:t>
    </dgm:pt>
    <dgm:pt modelId="{89762BB9-9AC5-B343-B418-55BE2CADEF35}" type="pres">
      <dgm:prSet presAssocID="{CBC67FAF-BB99-5A44-8B39-D9C3CDA803DB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D5A72D10-F884-4647-A669-8F52E4AFC176}" type="presOf" srcId="{CBC67FAF-BB99-5A44-8B39-D9C3CDA803DB}" destId="{89762BB9-9AC5-B343-B418-55BE2CADEF3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57B8E-F0FB-4B7C-B730-A1593DB911D6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115FC-B547-43A2-9A7D-C7BDEA6979E6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950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79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6392B8-65DA-4045-B4D0-9E168072D5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C07EF58-1CFD-4DA3-9D3A-184EEF7FB0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C393BC-377C-4BD0-9A71-7923E69D9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CCCE7B2-3C52-44AA-BA36-FDA12DCB0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CE907A8-BE0D-4828-8519-2512AC092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630119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6582A3-64BE-481B-B390-BB2DC50A0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562A4D1-D94D-479C-92DB-92CBB6C64B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CB499F-3E03-4733-B046-31067954F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73CA924-11A5-4F3B-8944-BC888D5C0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581C5D-561A-4045-ADB7-341A2A3BE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6452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192710-EB99-44F1-88D6-017595CFE3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5C918CF-BF5F-4EE2-B389-7897942620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21F19F-128D-4C36-BF98-6042C93CD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31103D0-2A8D-4E85-A21C-15FD095E8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38F5F55-79BC-42AD-8AAD-776E94284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774876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2E6438F-F4E2-5D4C-BA25-C64642E51293}"/>
              </a:ext>
            </a:extLst>
          </p:cNvPr>
          <p:cNvSpPr/>
          <p:nvPr userDrawn="1"/>
        </p:nvSpPr>
        <p:spPr>
          <a:xfrm>
            <a:off x="-4594" y="0"/>
            <a:ext cx="31132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8DD744E-B474-FF44-9AE3-FEFB807A39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4" y="6261602"/>
            <a:ext cx="2354335" cy="47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449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06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E630B1-C3C2-4744-882C-C45660C66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B6CEF56-DC0E-477F-A8D3-F254A905AC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7742BA1-B9DF-4CF3-9034-0E2790554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0C60316-2CFC-4482-8CB1-9DC7163AA2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432EB59-61D8-44C8-B723-7A67B5F06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2346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5BCBAE-EEF9-4D1E-B671-F2CD5226F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B79E343-1ED1-4A5E-8DFD-7A1160BEB1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203224-DD63-4DA3-BF54-1192D945C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E04EDDC-180B-4735-8D5E-66CBDAA16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453BE33-77F2-4FAA-9115-5734BC35B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47244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A278AB-94BC-4063-B66B-B9614580A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89981F-DF05-44CF-A661-4A1B62BCC6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B76BAC3-E84A-4D48-8A60-E698F00114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4740CCA-192A-486B-A070-9F780580B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A43B6F5-805C-410D-BC78-BF5678545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CCD74A2-4E24-465B-A001-220E8183A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99387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089B01-E47F-4E18-A8D7-E91EC6FC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8615C02-2C0D-4572-B428-FA281D567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47B4413-BF87-46AF-9556-29ADFF90DB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5ACB3E8-996E-4539-A204-B81FDB76A1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CB68DE6-FACF-41B5-9CB6-E92416F4AA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B14DB64-3A75-471F-8597-3D09143D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6969FFC-D229-4AD0-9213-251CF621B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8405C77-6F2B-4A69-AEB0-E4DB06711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7225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B113F9-D530-4613-AC9A-01A4705B3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8F46787-C121-47DF-96CE-193640EE3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0C3AF04-4046-4AED-A7C8-926F8D6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654F510-FEA1-4A55-B50F-AB1AE95F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68428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FD72594-CA97-4CD4-87E4-A606C1885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02EE8DA-3741-42C3-BE1B-83D687B07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AAE4DFB-C9B2-470C-BAE5-B6BF192F2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1917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341D3A-22A0-440B-9D4D-724BA7546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7F5545A-8FF8-4E95-A663-5087F1C040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BE8F161-0FE1-41B4-A01A-2585E30DF4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91CEDCC-B49A-413F-B135-AB5272D26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90EA140-EC8F-4C8F-AAB3-05F452A0A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97B5B4F-C164-4D54-BA9A-DD1CAECE4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0946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C99CD0-71B3-46D1-8A80-7BF2315C3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7F588266-00FF-4D21-B95F-948879AC5E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8FDC4DF-85E5-41BC-8B08-F1A28C69A7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90F4F1D-8048-48A4-BA36-37BA5122D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544CEC5-1F47-4738-AA02-D9DC451F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441D806-B5B4-498D-834E-C1A58997A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62752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A95FD19-DF49-40E5-B261-C96E14FD8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A29C764-F50F-4886-9C4E-6D5FD3F098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72330A-F5CA-4554-97FD-3ED51BB591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88A279-EFF4-41EC-B928-A854A286726E}" type="datetimeFigureOut">
              <a:rPr lang="es-CO" smtClean="0"/>
              <a:t>27/04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2CA2B74-CB85-413E-9D64-DADFCE5E2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1E3254B-9576-4F00-9258-029E028BDB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A81584-86D7-4951-ACB1-07E8577EBD6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5348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1.xml"/><Relationship Id="rId7" Type="http://schemas.openxmlformats.org/officeDocument/2006/relationships/diagramData" Target="../diagrams/data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microsoft.com/office/2007/relationships/diagramDrawing" Target="../diagrams/drawing1.xml"/><Relationship Id="rId5" Type="http://schemas.openxmlformats.org/officeDocument/2006/relationships/image" Target="../media/image1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3.bin"/><Relationship Id="rId9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package" Target="../embeddings/Microsoft_Excel_Worksheet2.xlsx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package" Target="../embeddings/Microsoft_Excel_Worksheet3.xlsx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package" Target="../embeddings/Microsoft_Excel_Worksheet4.xlsx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package" Target="../embeddings/Microsoft_Excel_Worksheet5.xlsx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package" Target="../embeddings/Microsoft_Excel_Worksheet6.xlsx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package" Target="../embeddings/Microsoft_Excel_Worksheet7.xlsx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emf"/><Relationship Id="rId4" Type="http://schemas.openxmlformats.org/officeDocument/2006/relationships/package" Target="../embeddings/Microsoft_Excel_Worksheet8.xlsx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65" y="672510"/>
            <a:ext cx="3553364" cy="714458"/>
          </a:xfrm>
          <a:prstGeom prst="rect">
            <a:avLst/>
          </a:prstGeom>
        </p:spPr>
      </p:pic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51A074C2-D248-2F43-96B5-66A718020B5D}"/>
              </a:ext>
            </a:extLst>
          </p:cNvPr>
          <p:cNvGraphicFramePr/>
          <p:nvPr/>
        </p:nvGraphicFramePr>
        <p:xfrm>
          <a:off x="213099" y="5002307"/>
          <a:ext cx="3535942" cy="779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FF1DFF23-50C4-E44F-A6E9-A3A77A6CBEB1}"/>
              </a:ext>
            </a:extLst>
          </p:cNvPr>
          <p:cNvSpPr txBox="1"/>
          <p:nvPr/>
        </p:nvSpPr>
        <p:spPr>
          <a:xfrm>
            <a:off x="550665" y="2188938"/>
            <a:ext cx="5686362" cy="954107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</a:rPr>
              <a:t>Análisis Variación IPC </a:t>
            </a:r>
          </a:p>
          <a:p>
            <a:pPr algn="ctr"/>
            <a:r>
              <a:rPr lang="es-ES" sz="2800" dirty="0">
                <a:solidFill>
                  <a:schemeClr val="bg1"/>
                </a:solidFill>
              </a:rPr>
              <a:t>Marzo 2022</a:t>
            </a:r>
          </a:p>
        </p:txBody>
      </p:sp>
      <p:pic>
        <p:nvPicPr>
          <p:cNvPr id="13" name="Imagen 5" descr="Imagen que contiene bailarín, deporte, tarta, persona&#10;&#10;Descripción generada automáticamente">
            <a:extLst>
              <a:ext uri="{FF2B5EF4-FFF2-40B4-BE49-F238E27FC236}">
                <a16:creationId xmlns:a16="http://schemas.microsoft.com/office/drawing/2014/main" id="{9A6B4B94-2ED8-5B42-BFEF-ED99A219A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897" y="1"/>
            <a:ext cx="5781550" cy="68729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8E971FA7-3D90-0C46-B4D3-64D669E816F8}"/>
              </a:ext>
            </a:extLst>
          </p:cNvPr>
          <p:cNvSpPr txBox="1"/>
          <p:nvPr/>
        </p:nvSpPr>
        <p:spPr>
          <a:xfrm>
            <a:off x="739567" y="4806791"/>
            <a:ext cx="43379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O" b="1" dirty="0">
                <a:solidFill>
                  <a:srgbClr val="F42E63"/>
                </a:solidFill>
                <a:latin typeface="Arial" panose="020B0604020202020204" pitchFamily="34" charset="0"/>
                <a:ea typeface="Work Sans" charset="0"/>
                <a:cs typeface="Arial" panose="020B0604020202020204" pitchFamily="34" charset="0"/>
              </a:rPr>
              <a:t>Subdirección para la Superación de la Pobreza</a:t>
            </a:r>
          </a:p>
          <a:p>
            <a:pPr lvl="0"/>
            <a:endParaRPr lang="es-CO" b="1" dirty="0">
              <a:latin typeface="Arial" panose="020B0604020202020204" pitchFamily="34" charset="0"/>
              <a:ea typeface="Work Sans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9667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áfico 4">
            <a:extLst>
              <a:ext uri="{FF2B5EF4-FFF2-40B4-BE49-F238E27FC236}">
                <a16:creationId xmlns:a16="http://schemas.microsoft.com/office/drawing/2014/main" id="{4C23D11E-7CB6-4B10-AAE8-ADC38F847B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356825A1-BB43-411F-9818-01411EF91081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mensual- IPC Nivel de ingreso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8EB9977-E69C-4EDE-9C8D-9BB5A664BC37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05163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áfico 12">
            <a:extLst>
              <a:ext uri="{FF2B5EF4-FFF2-40B4-BE49-F238E27FC236}">
                <a16:creationId xmlns:a16="http://schemas.microsoft.com/office/drawing/2014/main" id="{407C8FDF-3AD4-410C-8F86-B22E1AFF80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3661F93F-DD9E-4D3D-B99F-487182AFBEAA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año corrido- IPC Nivel de ingreso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CAE6BE0-6708-4D87-896A-53DB8A0CBC1F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014281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D4EA90F8-4C04-4353-8E55-6EC0799D3741}"/>
              </a:ext>
            </a:extLst>
          </p:cNvPr>
          <p:cNvSpPr txBox="1"/>
          <p:nvPr/>
        </p:nvSpPr>
        <p:spPr>
          <a:xfrm>
            <a:off x="935443" y="336993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ciudades:</a:t>
            </a:r>
          </a:p>
        </p:txBody>
      </p: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id="{9B29003D-E751-4805-955B-3DCF13E20F2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3251882"/>
              </p:ext>
            </p:extLst>
          </p:nvPr>
        </p:nvGraphicFramePr>
        <p:xfrm>
          <a:off x="5209906" y="603370"/>
          <a:ext cx="4080743" cy="54686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3514792" imgH="4710273" progId="Excel.Sheet.12">
                  <p:embed/>
                </p:oleObj>
              </mc:Choice>
              <mc:Fallback>
                <p:oleObj name="Worksheet" r:id="rId2" imgW="3514792" imgH="4710273" progId="Excel.Sheet.12">
                  <p:embed/>
                  <p:pic>
                    <p:nvPicPr>
                      <p:cNvPr id="2" name="Objeto 1">
                        <a:extLst>
                          <a:ext uri="{FF2B5EF4-FFF2-40B4-BE49-F238E27FC236}">
                            <a16:creationId xmlns:a16="http://schemas.microsoft.com/office/drawing/2014/main" id="{9B29003D-E751-4805-955B-3DCF13E20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209906" y="603370"/>
                        <a:ext cx="4080743" cy="54686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52AD57E6-D9E9-4462-A950-4D98DEE6E215}"/>
              </a:ext>
            </a:extLst>
          </p:cNvPr>
          <p:cNvSpPr txBox="1"/>
          <p:nvPr/>
        </p:nvSpPr>
        <p:spPr>
          <a:xfrm>
            <a:off x="682401" y="972702"/>
            <a:ext cx="319948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ciudades que tuvieron mayor inflación mensual fueron Medellín (1,45%), Valledupar (1,35%) y Cúcuta (1,34%). </a:t>
            </a:r>
            <a:b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variación mensual del total del IPC fue 1%. </a:t>
            </a:r>
            <a:br>
              <a:rPr lang="es-E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nja, Montería, Riohacha, Cúcuta, Pereira e Ibagué tuvieron una variación año corrido superior al 5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variación año corrido del total del IPC fue 4,36% </a:t>
            </a: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2727AA3-58D0-4089-B497-0F4E2555B0CB}"/>
              </a:ext>
            </a:extLst>
          </p:cNvPr>
          <p:cNvSpPr txBox="1"/>
          <p:nvPr/>
        </p:nvSpPr>
        <p:spPr>
          <a:xfrm>
            <a:off x="2660650" y="6307608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424870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7490AD88-122E-4EF4-BDFC-B85455E08C97}"/>
              </a:ext>
            </a:extLst>
          </p:cNvPr>
          <p:cNvSpPr txBox="1"/>
          <p:nvPr/>
        </p:nvSpPr>
        <p:spPr>
          <a:xfrm>
            <a:off x="1289110" y="230675"/>
            <a:ext cx="81152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grupos de gasto</a:t>
            </a:r>
            <a:b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Variación y contribución mensua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)</a:t>
            </a:r>
            <a:endParaRPr lang="es-CO" sz="20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820A8BA6-F674-41E9-B4F0-E47058FB7E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4107997"/>
              </p:ext>
            </p:extLst>
          </p:nvPr>
        </p:nvGraphicFramePr>
        <p:xfrm>
          <a:off x="1803400" y="1163638"/>
          <a:ext cx="8586788" cy="452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586834" imgH="4529191" progId="Excel.Sheet.12">
                  <p:embed/>
                </p:oleObj>
              </mc:Choice>
              <mc:Fallback>
                <p:oleObj name="Worksheet" r:id="rId2" imgW="8586834" imgH="4529191" progId="Excel.Sheet.12">
                  <p:embed/>
                  <p:pic>
                    <p:nvPicPr>
                      <p:cNvPr id="6" name="Objeto 5">
                        <a:extLst>
                          <a:ext uri="{FF2B5EF4-FFF2-40B4-BE49-F238E27FC236}">
                            <a16:creationId xmlns:a16="http://schemas.microsoft.com/office/drawing/2014/main" id="{820A8BA6-F674-41E9-B4F0-E47058FB7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803400" y="1163638"/>
                        <a:ext cx="8586788" cy="4529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72D2927F-54CC-4798-96EB-750135C55F2A}"/>
              </a:ext>
            </a:extLst>
          </p:cNvPr>
          <p:cNvSpPr txBox="1"/>
          <p:nvPr/>
        </p:nvSpPr>
        <p:spPr>
          <a:xfrm>
            <a:off x="977900" y="58483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20395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1D9D02E-B079-4936-ADB6-A46682110106}"/>
              </a:ext>
            </a:extLst>
          </p:cNvPr>
          <p:cNvSpPr txBox="1"/>
          <p:nvPr/>
        </p:nvSpPr>
        <p:spPr>
          <a:xfrm>
            <a:off x="1289110" y="230675"/>
            <a:ext cx="60991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grupos de gasto </a:t>
            </a:r>
            <a:b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Variación y contribución año corrido )</a:t>
            </a:r>
            <a:endParaRPr lang="es-CO" sz="20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D7D3B7B0-F735-4BD1-9989-2C09519F67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963359"/>
              </p:ext>
            </p:extLst>
          </p:nvPr>
        </p:nvGraphicFramePr>
        <p:xfrm>
          <a:off x="2725738" y="1163638"/>
          <a:ext cx="6738937" cy="452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738851" imgH="4529191" progId="Excel.Sheet.12">
                  <p:embed/>
                </p:oleObj>
              </mc:Choice>
              <mc:Fallback>
                <p:oleObj name="Worksheet" r:id="rId2" imgW="6738851" imgH="4529191" progId="Excel.Sheet.12">
                  <p:embed/>
                  <p:pic>
                    <p:nvPicPr>
                      <p:cNvPr id="5" name="Objeto 4">
                        <a:extLst>
                          <a:ext uri="{FF2B5EF4-FFF2-40B4-BE49-F238E27FC236}">
                            <a16:creationId xmlns:a16="http://schemas.microsoft.com/office/drawing/2014/main" id="{D7D3B7B0-F735-4BD1-9989-2C09519F6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725738" y="1163638"/>
                        <a:ext cx="6738937" cy="4529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65771515-FD91-4D8B-9FBD-B425A68B3987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84514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52D64924-D03D-45CA-BD27-66780FA55397}"/>
              </a:ext>
            </a:extLst>
          </p:cNvPr>
          <p:cNvSpPr txBox="1"/>
          <p:nvPr/>
        </p:nvSpPr>
        <p:spPr>
          <a:xfrm>
            <a:off x="1289110" y="230675"/>
            <a:ext cx="60991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por grupos </a:t>
            </a:r>
            <a:r>
              <a:rPr lang="es-ES" sz="2000" b="1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gasto</a:t>
            </a:r>
            <a:br>
              <a:rPr lang="es-ES" sz="2000" b="1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ES" sz="2000" b="1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Variación y contribución 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ual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)</a:t>
            </a:r>
            <a:endParaRPr lang="es-CO" sz="20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C51B4CA6-7DA6-4617-85E1-352A514F93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5680986"/>
              </p:ext>
            </p:extLst>
          </p:nvPr>
        </p:nvGraphicFramePr>
        <p:xfrm>
          <a:off x="2725738" y="1163638"/>
          <a:ext cx="6738937" cy="452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738851" imgH="4529191" progId="Excel.Sheet.12">
                  <p:embed/>
                </p:oleObj>
              </mc:Choice>
              <mc:Fallback>
                <p:oleObj name="Worksheet" r:id="rId2" imgW="6738851" imgH="4529191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C51B4CA6-7DA6-4617-85E1-352A514F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725738" y="1163638"/>
                        <a:ext cx="6738937" cy="4529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F33B1C4F-2058-4906-A7CC-0192FBB52353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01900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7A506B5-328B-479B-98BC-5C5D70B3FAC5}"/>
              </a:ext>
            </a:extLst>
          </p:cNvPr>
          <p:cNvSpPr txBox="1"/>
          <p:nvPr/>
        </p:nvSpPr>
        <p:spPr>
          <a:xfrm>
            <a:off x="1436014" y="170290"/>
            <a:ext cx="93199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mensual de alimentos. </a:t>
            </a:r>
            <a:b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874DF5F9-EFD5-420A-918D-73A52E443A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395929"/>
              </p:ext>
            </p:extLst>
          </p:nvPr>
        </p:nvGraphicFramePr>
        <p:xfrm>
          <a:off x="1677988" y="900113"/>
          <a:ext cx="9312275" cy="4870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348536" imgH="4367373" progId="Excel.Sheet.12">
                  <p:embed/>
                </p:oleObj>
              </mc:Choice>
              <mc:Fallback>
                <p:oleObj name="Worksheet" r:id="rId2" imgW="8348536" imgH="4367373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874DF5F9-EFD5-420A-918D-73A52E443A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677988" y="900113"/>
                        <a:ext cx="9312275" cy="4870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B2BF6988-E069-428E-985C-CD998DA42D5C}"/>
              </a:ext>
            </a:extLst>
          </p:cNvPr>
          <p:cNvSpPr txBox="1"/>
          <p:nvPr/>
        </p:nvSpPr>
        <p:spPr>
          <a:xfrm>
            <a:off x="1638300" y="5773221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ota: Primeros 12 productos según contribución mensual marzo 2022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17FBBCE-4F7A-43C7-A3C8-154F7AF9BD00}"/>
              </a:ext>
            </a:extLst>
          </p:cNvPr>
          <p:cNvSpPr txBox="1"/>
          <p:nvPr/>
        </p:nvSpPr>
        <p:spPr>
          <a:xfrm>
            <a:off x="2660650" y="6419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86975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E692AF88-134D-4CEC-9B19-61971B19A7B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9177770"/>
              </p:ext>
            </p:extLst>
          </p:nvPr>
        </p:nvGraphicFramePr>
        <p:xfrm>
          <a:off x="1865611" y="1504950"/>
          <a:ext cx="8028978" cy="37163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348366" imgH="2938409" progId="Excel.Sheet.12">
                  <p:embed/>
                </p:oleObj>
              </mc:Choice>
              <mc:Fallback>
                <p:oleObj name="Worksheet" r:id="rId2" imgW="6348366" imgH="2938409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E692AF88-134D-4CEC-9B19-61971B19A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865611" y="1504950"/>
                        <a:ext cx="8028978" cy="37163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0D641D52-5CFE-404D-B869-9DEBA6AF6FA6}"/>
              </a:ext>
            </a:extLst>
          </p:cNvPr>
          <p:cNvSpPr txBox="1"/>
          <p:nvPr/>
        </p:nvSpPr>
        <p:spPr>
          <a:xfrm>
            <a:off x="1436014" y="170290"/>
            <a:ext cx="93199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</a:t>
            </a:r>
            <a:r>
              <a:rPr lang="es-ES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o corrido</a:t>
            </a:r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alimentos. </a:t>
            </a:r>
            <a:b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48B8613-B12E-415D-9652-91282905D3C2}"/>
              </a:ext>
            </a:extLst>
          </p:cNvPr>
          <p:cNvSpPr txBox="1"/>
          <p:nvPr/>
        </p:nvSpPr>
        <p:spPr>
          <a:xfrm>
            <a:off x="1765300" y="5290621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ota: Primeros 12 productos según contribución año corrido marzo 2022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8CE550B-785D-4AD1-81F7-63120AC02C5A}"/>
              </a:ext>
            </a:extLst>
          </p:cNvPr>
          <p:cNvSpPr txBox="1"/>
          <p:nvPr/>
        </p:nvSpPr>
        <p:spPr>
          <a:xfrm>
            <a:off x="2597150" y="6318378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501486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21BF77DA-EDCF-4D6C-9127-0CDCFCBD9CD5}"/>
              </a:ext>
            </a:extLst>
          </p:cNvPr>
          <p:cNvSpPr txBox="1"/>
          <p:nvPr/>
        </p:nvSpPr>
        <p:spPr>
          <a:xfrm>
            <a:off x="1436014" y="170290"/>
            <a:ext cx="93199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</a:t>
            </a:r>
            <a:r>
              <a:rPr lang="es-ES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o anual</a:t>
            </a:r>
            <a:r>
              <a:rPr lang="es-E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alimentos. </a:t>
            </a:r>
            <a:b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id="{DE3AD5BE-706D-4ABC-86AA-6993A00C105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6539667"/>
              </p:ext>
            </p:extLst>
          </p:nvPr>
        </p:nvGraphicFramePr>
        <p:xfrm>
          <a:off x="2303463" y="1333500"/>
          <a:ext cx="7300110" cy="3776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453234" imgH="3338673" progId="Excel.Sheet.12">
                  <p:embed/>
                </p:oleObj>
              </mc:Choice>
              <mc:Fallback>
                <p:oleObj name="Worksheet" r:id="rId2" imgW="6453234" imgH="3338673" progId="Excel.Sheet.12">
                  <p:embed/>
                  <p:pic>
                    <p:nvPicPr>
                      <p:cNvPr id="4" name="Objeto 3">
                        <a:extLst>
                          <a:ext uri="{FF2B5EF4-FFF2-40B4-BE49-F238E27FC236}">
                            <a16:creationId xmlns:a16="http://schemas.microsoft.com/office/drawing/2014/main" id="{DE3AD5BE-706D-4ABC-86AA-6993A00C1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303463" y="1333500"/>
                        <a:ext cx="7300110" cy="3776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9ABCB37F-2909-4C80-9F3F-4FC84DA3848C}"/>
              </a:ext>
            </a:extLst>
          </p:cNvPr>
          <p:cNvSpPr txBox="1"/>
          <p:nvPr/>
        </p:nvSpPr>
        <p:spPr>
          <a:xfrm>
            <a:off x="2247900" y="5155168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Nota: Primeros 12 productos según contribución año corrido marzo 2022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2D0AA43-5286-46FB-AF56-67B6FF6AECB8}"/>
              </a:ext>
            </a:extLst>
          </p:cNvPr>
          <p:cNvSpPr txBox="1"/>
          <p:nvPr/>
        </p:nvSpPr>
        <p:spPr>
          <a:xfrm>
            <a:off x="2616200" y="6318378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792809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10A1B591-790F-4258-A244-571CFCFBB88C}"/>
              </a:ext>
            </a:extLst>
          </p:cNvPr>
          <p:cNvSpPr txBox="1"/>
          <p:nvPr/>
        </p:nvSpPr>
        <p:spPr>
          <a:xfrm>
            <a:off x="728649" y="480841"/>
            <a:ext cx="93199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ación de </a:t>
            </a:r>
            <a:r>
              <a:rPr lang="es-E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gares pobres y vulnerables </a:t>
            </a:r>
            <a:endParaRPr lang="es-E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429442E0-A240-4C0D-8672-BD883D53B8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0351003"/>
              </p:ext>
            </p:extLst>
          </p:nvPr>
        </p:nvGraphicFramePr>
        <p:xfrm>
          <a:off x="3290887" y="1543050"/>
          <a:ext cx="4605337" cy="1624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4605251" imgH="1624173" progId="Excel.Sheet.12">
                  <p:embed/>
                </p:oleObj>
              </mc:Choice>
              <mc:Fallback>
                <p:oleObj name="Worksheet" r:id="rId2" imgW="4605251" imgH="1624173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429442E0-A240-4C0D-8672-BD883D53B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290887" y="1543050"/>
                        <a:ext cx="4605337" cy="1624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D5F70728-25C2-45BB-B6E6-B350FCBE4F3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019516"/>
              </p:ext>
            </p:extLst>
          </p:nvPr>
        </p:nvGraphicFramePr>
        <p:xfrm>
          <a:off x="3290888" y="3429000"/>
          <a:ext cx="4605337" cy="1624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605251" imgH="1624173" progId="Excel.Sheet.12">
                  <p:embed/>
                </p:oleObj>
              </mc:Choice>
              <mc:Fallback>
                <p:oleObj name="Worksheet" r:id="rId4" imgW="4605251" imgH="1624173" progId="Excel.Sheet.12">
                  <p:embed/>
                  <p:pic>
                    <p:nvPicPr>
                      <p:cNvPr id="5" name="Objeto 4">
                        <a:extLst>
                          <a:ext uri="{FF2B5EF4-FFF2-40B4-BE49-F238E27FC236}">
                            <a16:creationId xmlns:a16="http://schemas.microsoft.com/office/drawing/2014/main" id="{D5F70728-25C2-45BB-B6E6-B350FCBE4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90888" y="3429000"/>
                        <a:ext cx="4605337" cy="1624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5F48704D-D3AB-41AB-A8E4-8D5C5D41B9CA}"/>
              </a:ext>
            </a:extLst>
          </p:cNvPr>
          <p:cNvSpPr txBox="1"/>
          <p:nvPr/>
        </p:nvSpPr>
        <p:spPr>
          <a:xfrm>
            <a:off x="589755" y="58102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3017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6092CA5A-0492-4814-9D21-416CAFC9A125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mensual- IPC Total 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828F1C6E-C75E-4D68-BA26-41D27E8972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3999" y="1055254"/>
            <a:ext cx="9319491" cy="4659746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2A245B5E-3B73-4740-A913-018646BEAD0D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95063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2F44A30-4B95-41C0-B5C9-6C37ECC70FB1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mensual- IPC Total 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2B0034CE-49D3-4021-A4B0-37D632271B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00663C95-95CC-45D7-A663-8D3D8E762EA3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53379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66C18580-34E8-4FD2-89C4-55633AF5C619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mensual- IPC Alime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AA212D2-D672-4B22-86ED-F50E2313CD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690D4EA-239B-40AD-92D5-6CB604F037E0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149465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9A1CA3AF-3D1F-4BCB-8B8A-24CCD528DA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0A6B2CB6-ADBF-4A7C-9B4B-9AB1A5227F3E}"/>
              </a:ext>
            </a:extLst>
          </p:cNvPr>
          <p:cNvSpPr txBox="1"/>
          <p:nvPr/>
        </p:nvSpPr>
        <p:spPr>
          <a:xfrm>
            <a:off x="3589166" y="443788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mensual- IPC Alimentos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8154D17-44DC-4608-B9B4-0001BC3E1EAB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797659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9D98E7DA-DE1C-43F9-9752-E48678A29CD5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ño corrido- IPC Total 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05D71DC1-E801-4362-B7D4-55CD87C38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9CB3DE4A-4121-4945-8A35-DFA5F0DDDCBD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77383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>
            <a:extLst>
              <a:ext uri="{FF2B5EF4-FFF2-40B4-BE49-F238E27FC236}">
                <a16:creationId xmlns:a16="http://schemas.microsoft.com/office/drawing/2014/main" id="{68CB6698-F2E8-49AB-8B31-C841539195DC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año corrido- IPC Total</a:t>
            </a:r>
          </a:p>
        </p:txBody>
      </p:sp>
      <p:pic>
        <p:nvPicPr>
          <p:cNvPr id="24" name="Gráfico 23">
            <a:extLst>
              <a:ext uri="{FF2B5EF4-FFF2-40B4-BE49-F238E27FC236}">
                <a16:creationId xmlns:a16="http://schemas.microsoft.com/office/drawing/2014/main" id="{66009E7F-6258-4608-81B1-D2476A1E9B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9FF2EBBD-8E36-407E-B882-C29619431745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89040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30BB6A8F-AB24-4F70-B807-6006C2692D3F}"/>
              </a:ext>
            </a:extLst>
          </p:cNvPr>
          <p:cNvSpPr txBox="1"/>
          <p:nvPr/>
        </p:nvSpPr>
        <p:spPr>
          <a:xfrm>
            <a:off x="4131225" y="457066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ción </a:t>
            </a:r>
            <a:r>
              <a:rPr lang="es-ES" sz="2000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ño corrido- IPC Alimentos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675ABFCF-D04B-422E-A1F4-0A682F1DD7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724AA6D-7573-463C-B528-7B847637ED40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72856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1B134C55-528E-49CF-B20E-7861123BF02C}"/>
              </a:ext>
            </a:extLst>
          </p:cNvPr>
          <p:cNvSpPr txBox="1"/>
          <p:nvPr/>
        </p:nvSpPr>
        <p:spPr>
          <a:xfrm>
            <a:off x="3420024" y="530955"/>
            <a:ext cx="60991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e variación año corrido- IPC Alimentos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72D0E838-1779-4731-8BDA-F9CDAC94A7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4000" y="1143000"/>
            <a:ext cx="9144000" cy="4572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020843E-02C2-4F45-9A06-D0B281159C33}"/>
              </a:ext>
            </a:extLst>
          </p:cNvPr>
          <p:cNvSpPr txBox="1"/>
          <p:nvPr/>
        </p:nvSpPr>
        <p:spPr>
          <a:xfrm>
            <a:off x="952500" y="578485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Fuente: DANE. Índice de precios al consumidor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39184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2</TotalTime>
  <Words>395</Words>
  <Application>Microsoft Office PowerPoint</Application>
  <PresentationFormat>Panorámica</PresentationFormat>
  <Paragraphs>48</Paragraphs>
  <Slides>19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19</vt:i4>
      </vt:variant>
    </vt:vector>
  </HeadingPairs>
  <TitlesOfParts>
    <vt:vector size="27" baseType="lpstr">
      <vt:lpstr>Arial</vt:lpstr>
      <vt:lpstr>Calibri</vt:lpstr>
      <vt:lpstr>Calibri Light</vt:lpstr>
      <vt:lpstr>Georgia</vt:lpstr>
      <vt:lpstr>Tema de Office</vt:lpstr>
      <vt:lpstr>think-cell Slide</vt:lpstr>
      <vt:lpstr>Worksheet</vt:lpstr>
      <vt:lpstr>Hoja de cálculo de Microsoft Exce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Paula Neira Ahumada</dc:creator>
  <cp:lastModifiedBy>Maria Paula Neira Ahumada</cp:lastModifiedBy>
  <cp:revision>1</cp:revision>
  <dcterms:created xsi:type="dcterms:W3CDTF">2022-04-07T21:23:02Z</dcterms:created>
  <dcterms:modified xsi:type="dcterms:W3CDTF">2022-04-28T00:58:41Z</dcterms:modified>
</cp:coreProperties>
</file>